
<file path=[Content_Types].xml><?xml version="1.0" encoding="utf-8"?>
<Types xmlns="http://schemas.openxmlformats.org/package/2006/content-types">
  <Default Extension="bin" ContentType="application/vnd.openxmlformats-officedocument.oleObject"/>
  <Default Extension="png" ContentType="image/png"/>
  <Default Extension="pdf" ContentType="application/pdf"/>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slides/slide14.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presentation.xml" ContentType="application/vnd.openxmlformats-officedocument.presentationml.presentation.main+xml"/>
  <Override PartName="/ppt/slides/slide13.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8.xml" ContentType="application/vnd.openxmlformats-officedocument.presentationml.slide+xml"/>
  <Override PartName="/ppt/slides/slide5.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Layouts/slideLayout122.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165.xml" ContentType="application/vnd.openxmlformats-officedocument.presentationml.slideLayout+xml"/>
  <Override PartName="/ppt/slideLayouts/slideLayout133.xml" ContentType="application/vnd.openxmlformats-officedocument.presentationml.slideLayout+xml"/>
  <Override PartName="/ppt/slideLayouts/slideLayout164.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66.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73.xml" ContentType="application/vnd.openxmlformats-officedocument.presentationml.slideLayout+xml"/>
  <Override PartName="/ppt/slideLayouts/slideLayout134.xml" ContentType="application/vnd.openxmlformats-officedocument.presentationml.slideLayout+xml"/>
  <Override PartName="/ppt/slideLayouts/slideLayout72.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123.xml" ContentType="application/vnd.openxmlformats-officedocument.presentationml.slideLayout+xml"/>
  <Override PartName="/ppt/slideLayouts/slideLayout162.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138.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26.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1.xml" ContentType="application/vnd.openxmlformats-officedocument.presentationml.slideLayout+xml"/>
  <Override PartName="/ppt/slideLayouts/slideLayout120.xml" ContentType="application/vnd.openxmlformats-officedocument.presentationml.slideLayout+xml"/>
  <Override PartName="/ppt/slideLayouts/slideLayout119.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130.xml" ContentType="application/vnd.openxmlformats-officedocument.presentationml.slideLayout+xml"/>
  <Override PartName="/ppt/slideLayouts/slideLayout90.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61.xml" ContentType="application/vnd.openxmlformats-officedocument.presentationml.slideLayout+xml"/>
  <Override PartName="/ppt/slideLayouts/slideLayout163.xml" ContentType="application/vnd.openxmlformats-officedocument.presentationml.slideLayout+xml"/>
  <Override PartName="/ppt/slideLayouts/slideLayout58.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notesSlides/notesSlide1.xml" ContentType="application/vnd.openxmlformats-officedocument.presentationml.notesSlid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152.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45.xml" ContentType="application/vnd.openxmlformats-officedocument.presentationml.slideLayout+xml"/>
  <Override PartName="/ppt/slideLayouts/slideLayout1.xml" ContentType="application/vnd.openxmlformats-officedocument.presentationml.slideLayout+xml"/>
  <Override PartName="/ppt/slideLayouts/slideLayout144.xml" ContentType="application/vnd.openxmlformats-officedocument.presentationml.slideLayout+xml"/>
  <Override PartName="/ppt/slideLayouts/slideLayout143.xml" ContentType="application/vnd.openxmlformats-officedocument.presentationml.slideLayout+xml"/>
  <Override PartName="/ppt/slideLayouts/slideLayout142.xml" ContentType="application/vnd.openxmlformats-officedocument.presentationml.slideLayout+xml"/>
  <Override PartName="/ppt/slideLayouts/slideLayout14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46.xml" ContentType="application/vnd.openxmlformats-officedocument.presentationml.slideLayout+xml"/>
  <Override PartName="/ppt/slideLayouts/slideLayout11.xml" ContentType="application/vnd.openxmlformats-officedocument.presentationml.slideLayout+xml"/>
  <Override PartName="/ppt/notesSlides/notesSlide2.xml" ContentType="application/vnd.openxmlformats-officedocument.presentationml.notesSlide+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59.xml" ContentType="application/vnd.openxmlformats-officedocument.presentationml.slideLayout+xml"/>
  <Override PartName="/ppt/slideLayouts/slideLayout153.xml" ContentType="application/vnd.openxmlformats-officedocument.presentationml.slideLayout+xml"/>
  <Override PartName="/ppt/slideLayouts/slideLayout155.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50.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160.xml" ContentType="application/vnd.openxmlformats-officedocument.presentationml.slideLayout+xml"/>
  <Override PartName="/ppt/slideLayouts/slideLayout154.xml" ContentType="application/vnd.openxmlformats-officedocument.presentationml.slideLayout+xml"/>
  <Override PartName="/ppt/slideLayouts/slideLayout40.xml" ContentType="application/vnd.openxmlformats-officedocument.presentationml.slideLayout+xml"/>
  <Override PartName="/ppt/slideLayouts/slideLayout156.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157.xml" ContentType="application/vnd.openxmlformats-officedocument.presentationml.slideLayout+xml"/>
  <Override PartName="/ppt/slideLayouts/slideLayout35.xml" ContentType="application/vnd.openxmlformats-officedocument.presentationml.slideLayout+xml"/>
  <Override PartName="/ppt/slideLayouts/slideLayout37.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36.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theme/theme11.xml" ContentType="application/vnd.openxmlformats-officedocument.theme+xml"/>
  <Override PartName="/ppt/theme/themeOverride3.xml" ContentType="application/vnd.openxmlformats-officedocument.themeOverride+xml"/>
  <Override PartName="/ppt/theme/themeOverride2.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5.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theme/theme10.xml" ContentType="application/vnd.openxmlformats-officedocument.theme+xml"/>
  <Override PartName="/ppt/theme/theme8.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Override6.xml" ContentType="application/vnd.openxmlformats-officedocument.themeOverride+xml"/>
  <Override PartName="/ppt/charts/chart1.xml" ContentType="application/vnd.openxmlformats-officedocument.drawingml.chart+xml"/>
  <Override PartName="/ppt/theme/themeOverride4.xml" ContentType="application/vnd.openxmlformats-officedocument.themeOverrid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Override5.xml" ContentType="application/vnd.openxmlformats-officedocument.themeOverride+xml"/>
  <Override PartName="/ppt/theme/themeOverride7.xml" ContentType="application/vnd.openxmlformats-officedocument.themeOverrid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32.xml" ContentType="application/vnd.openxmlformats-officedocument.presentationml.tags+xml"/>
  <Override PartName="/ppt/tags/tag36.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3.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37.xml" ContentType="application/vnd.openxmlformats-officedocument.presentationml.tags+xml"/>
  <Override PartName="/ppt/tags/tag31.xml" ContentType="application/vnd.openxmlformats-officedocument.presentationml.tags+xml"/>
  <Override PartName="/ppt/tags/tag41.xml" ContentType="application/vnd.openxmlformats-officedocument.presentationml.tags+xml"/>
  <Override PartName="/ppt/tags/tag26.xml" ContentType="application/vnd.openxmlformats-officedocument.presentationml.tags+xml"/>
  <Override PartName="/ppt/tags/tag2.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2.xml" ContentType="application/vnd.openxmlformats-officedocument.presentationml.tags+xml"/>
  <Override PartName="/ppt/tags/tag3.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25.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2.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51.xml" ContentType="application/vnd.openxmlformats-officedocument.presentationml.tags+xml"/>
  <Override PartName="/ppt/tags/tag150.xml" ContentType="application/vnd.openxmlformats-officedocument.presentationml.tags+xml"/>
  <Override PartName="/ppt/tags/tag139.xml" ContentType="application/vnd.openxmlformats-officedocument.presentationml.tags+xml"/>
  <Override PartName="/ppt/tags/tag1.xml" ContentType="application/vnd.openxmlformats-officedocument.presentationml.tags+xml"/>
  <Override PartName="/ppt/tags/tag138.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133.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4.xml" ContentType="application/vnd.openxmlformats-officedocument.presentationml.tags+xml"/>
  <Override PartName="/ppt/tags/tag4.xml" ContentType="application/vnd.openxmlformats-officedocument.presentationml.tags+xml"/>
  <Override PartName="/ppt/tags/tag60.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96.xml" ContentType="application/vnd.openxmlformats-officedocument.presentationml.tags+xml"/>
  <Override PartName="/ppt/tags/tag7.xml" ContentType="application/vnd.openxmlformats-officedocument.presentationml.tags+xml"/>
  <Override PartName="/ppt/tags/tag95.xml" ContentType="application/vnd.openxmlformats-officedocument.presentationml.tags+xml"/>
  <Override PartName="/ppt/tags/tag5.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79.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78.xml" ContentType="application/vnd.openxmlformats-officedocument.presentationml.tags+xml"/>
  <Override PartName="/ppt/tags/tag87.xml" ContentType="application/vnd.openxmlformats-officedocument.presentationml.tags+xml"/>
  <Override PartName="/ppt/tags/tag85.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6.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6.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700" r:id="rId3"/>
    <p:sldMasterId id="2147483715" r:id="rId4"/>
    <p:sldMasterId id="2147483727" r:id="rId5"/>
    <p:sldMasterId id="2147483736" r:id="rId6"/>
    <p:sldMasterId id="2147483745" r:id="rId7"/>
    <p:sldMasterId id="2147483755" r:id="rId8"/>
    <p:sldMasterId id="2147483767" r:id="rId9"/>
    <p:sldMasterId id="2147483784" r:id="rId10"/>
    <p:sldMasterId id="2147483801" r:id="rId11"/>
    <p:sldMasterId id="2147483815" r:id="rId12"/>
    <p:sldMasterId id="2147483831" r:id="rId13"/>
    <p:sldMasterId id="2147483848" r:id="rId14"/>
  </p:sldMasterIdLst>
  <p:notesMasterIdLst>
    <p:notesMasterId r:id="rId34"/>
  </p:notesMasterIdLst>
  <p:handoutMasterIdLst>
    <p:handoutMasterId r:id="rId35"/>
  </p:handoutMasterIdLst>
  <p:sldIdLst>
    <p:sldId id="261" r:id="rId15"/>
    <p:sldId id="339" r:id="rId16"/>
    <p:sldId id="262" r:id="rId17"/>
    <p:sldId id="259" r:id="rId18"/>
    <p:sldId id="267" r:id="rId19"/>
    <p:sldId id="316" r:id="rId20"/>
    <p:sldId id="266" r:id="rId21"/>
    <p:sldId id="265" r:id="rId22"/>
    <p:sldId id="292" r:id="rId23"/>
    <p:sldId id="317" r:id="rId24"/>
    <p:sldId id="299" r:id="rId25"/>
    <p:sldId id="320" r:id="rId26"/>
    <p:sldId id="342" r:id="rId27"/>
    <p:sldId id="321" r:id="rId28"/>
    <p:sldId id="322" r:id="rId29"/>
    <p:sldId id="340" r:id="rId30"/>
    <p:sldId id="324" r:id="rId31"/>
    <p:sldId id="343" r:id="rId32"/>
    <p:sldId id="333" r:id="rId33"/>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76923" autoAdjust="0"/>
  </p:normalViewPr>
  <p:slideViewPr>
    <p:cSldViewPr snapToGrid="0">
      <p:cViewPr varScale="1">
        <p:scale>
          <a:sx n="61" d="100"/>
          <a:sy n="61" d="100"/>
        </p:scale>
        <p:origin x="648" y="53"/>
      </p:cViewPr>
      <p:guideLst/>
    </p:cSldViewPr>
  </p:slideViewPr>
  <p:outlineViewPr>
    <p:cViewPr>
      <p:scale>
        <a:sx n="33" d="100"/>
        <a:sy n="33" d="100"/>
      </p:scale>
      <p:origin x="0" y="0"/>
    </p:cViewPr>
  </p:outlineViewPr>
  <p:notesTextViewPr>
    <p:cViewPr>
      <p:scale>
        <a:sx n="1" d="1"/>
        <a:sy n="1" d="1"/>
      </p:scale>
      <p:origin x="0" y="-82"/>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7.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6901408450704328E-2"/>
          <c:y val="1.973684210526316E-2"/>
          <c:w val="0.96901408450704229"/>
          <c:h val="0.94736842105262731"/>
        </c:manualLayout>
      </c:layout>
      <c:barChart>
        <c:barDir val="col"/>
        <c:grouping val="stacked"/>
        <c:varyColors val="0"/>
        <c:ser>
          <c:idx val="0"/>
          <c:order val="0"/>
          <c:tx>
            <c:strRef>
              <c:f>Sheet1!$B$1</c:f>
              <c:strCache>
                <c:ptCount val="1"/>
              </c:strCache>
            </c:strRef>
          </c:tx>
          <c:spPr>
            <a:solidFill>
              <a:schemeClr val="tx2"/>
            </a:solidFill>
            <a:ln w="12699">
              <a:solidFill>
                <a:srgbClr val="000000"/>
              </a:solidFill>
              <a:prstDash val="solid"/>
            </a:ln>
          </c:spPr>
          <c:invertIfNegative val="0"/>
          <c:cat>
            <c:numRef>
              <c:f>Sheet1!$A$2:$A$3</c:f>
              <c:numCache>
                <c:formatCode>General</c:formatCode>
                <c:ptCount val="2"/>
              </c:numCache>
            </c:numRef>
          </c:cat>
          <c:val>
            <c:numRef>
              <c:f>Sheet1!$B$2:$B$3</c:f>
              <c:numCache>
                <c:formatCode>""#,##0.0"";""\-""#,##0.0""</c:formatCode>
                <c:ptCount val="2"/>
                <c:pt idx="0">
                  <c:v>0.2</c:v>
                </c:pt>
                <c:pt idx="1">
                  <c:v>0</c:v>
                </c:pt>
              </c:numCache>
            </c:numRef>
          </c:val>
        </c:ser>
        <c:ser>
          <c:idx val="1"/>
          <c:order val="1"/>
          <c:tx>
            <c:strRef>
              <c:f>Sheet1!$C$1</c:f>
              <c:strCache>
                <c:ptCount val="1"/>
              </c:strCache>
            </c:strRef>
          </c:tx>
          <c:spPr>
            <a:solidFill>
              <a:srgbClr val="281FA0"/>
            </a:solidFill>
            <a:ln w="12699">
              <a:solidFill>
                <a:srgbClr val="000000"/>
              </a:solidFill>
              <a:prstDash val="solid"/>
            </a:ln>
          </c:spPr>
          <c:invertIfNegative val="0"/>
          <c:cat>
            <c:numRef>
              <c:f>Sheet1!$A$2:$A$3</c:f>
              <c:numCache>
                <c:formatCode>General</c:formatCode>
                <c:ptCount val="2"/>
              </c:numCache>
            </c:numRef>
          </c:cat>
          <c:val>
            <c:numRef>
              <c:f>Sheet1!$C$2:$C$3</c:f>
              <c:numCache>
                <c:formatCode>""#,##0.0"";""\-""#,##0.0""</c:formatCode>
                <c:ptCount val="2"/>
                <c:pt idx="0">
                  <c:v>2.09</c:v>
                </c:pt>
                <c:pt idx="1">
                  <c:v>1.5</c:v>
                </c:pt>
              </c:numCache>
            </c:numRef>
          </c:val>
        </c:ser>
        <c:ser>
          <c:idx val="2"/>
          <c:order val="2"/>
          <c:tx>
            <c:strRef>
              <c:f>Sheet1!$D$1</c:f>
              <c:strCache>
                <c:ptCount val="1"/>
              </c:strCache>
            </c:strRef>
          </c:tx>
          <c:spPr>
            <a:solidFill>
              <a:srgbClr val="4F83E3"/>
            </a:solidFill>
            <a:ln w="12699">
              <a:solidFill>
                <a:srgbClr val="000000"/>
              </a:solidFill>
              <a:prstDash val="solid"/>
            </a:ln>
          </c:spPr>
          <c:invertIfNegative val="0"/>
          <c:cat>
            <c:numRef>
              <c:f>Sheet1!$A$2:$A$3</c:f>
              <c:numCache>
                <c:formatCode>General</c:formatCode>
                <c:ptCount val="2"/>
              </c:numCache>
            </c:numRef>
          </c:cat>
          <c:val>
            <c:numRef>
              <c:f>Sheet1!$D$2:$D$3</c:f>
              <c:numCache>
                <c:formatCode>General</c:formatCode>
                <c:ptCount val="2"/>
                <c:pt idx="0" formatCode="&quot;&quot;#,##0.0&quot;&quot;;&quot;&quot;\-&quot;&quot;#,##0.0&quot;&quot;">
                  <c:v>1.59</c:v>
                </c:pt>
                <c:pt idx="1">
                  <c:v>0.12000000000000002</c:v>
                </c:pt>
              </c:numCache>
            </c:numRef>
          </c:val>
        </c:ser>
        <c:ser>
          <c:idx val="3"/>
          <c:order val="3"/>
          <c:tx>
            <c:strRef>
              <c:f>Sheet1!$E$1</c:f>
              <c:strCache>
                <c:ptCount val="1"/>
              </c:strCache>
            </c:strRef>
          </c:tx>
          <c:spPr>
            <a:solidFill>
              <a:schemeClr val="accent2"/>
            </a:solidFill>
            <a:ln w="12699">
              <a:solidFill>
                <a:srgbClr val="000000"/>
              </a:solidFill>
              <a:prstDash val="solid"/>
            </a:ln>
          </c:spPr>
          <c:invertIfNegative val="0"/>
          <c:cat>
            <c:numRef>
              <c:f>Sheet1!$A$2:$A$3</c:f>
              <c:numCache>
                <c:formatCode>General</c:formatCode>
                <c:ptCount val="2"/>
              </c:numCache>
            </c:numRef>
          </c:cat>
          <c:val>
            <c:numRef>
              <c:f>Sheet1!$E$2:$E$3</c:f>
              <c:numCache>
                <c:formatCode>General</c:formatCode>
                <c:ptCount val="2"/>
                <c:pt idx="0" formatCode="&quot;&quot;#,##0.0&quot;&quot;;&quot;&quot;\-&quot;&quot;#,##0.0&quot;&quot;">
                  <c:v>39.590000000000003</c:v>
                </c:pt>
                <c:pt idx="1">
                  <c:v>20.85</c:v>
                </c:pt>
              </c:numCache>
            </c:numRef>
          </c:val>
        </c:ser>
        <c:ser>
          <c:idx val="4"/>
          <c:order val="4"/>
          <c:tx>
            <c:strRef>
              <c:f>Sheet1!$F$1</c:f>
              <c:strCache>
                <c:ptCount val="1"/>
              </c:strCache>
            </c:strRef>
          </c:tx>
          <c:spPr>
            <a:solidFill>
              <a:srgbClr val="CFE3FA"/>
            </a:solidFill>
            <a:ln w="12699">
              <a:solidFill>
                <a:srgbClr val="000000"/>
              </a:solidFill>
              <a:prstDash val="solid"/>
            </a:ln>
          </c:spPr>
          <c:invertIfNegative val="0"/>
          <c:cat>
            <c:numRef>
              <c:f>Sheet1!$A$2:$A$3</c:f>
              <c:numCache>
                <c:formatCode>General</c:formatCode>
                <c:ptCount val="2"/>
              </c:numCache>
            </c:numRef>
          </c:cat>
          <c:val>
            <c:numRef>
              <c:f>Sheet1!$F$2:$F$3</c:f>
              <c:numCache>
                <c:formatCode>""#,##0.0"";""\-""#,##0.0""</c:formatCode>
                <c:ptCount val="2"/>
                <c:pt idx="0">
                  <c:v>4.25</c:v>
                </c:pt>
                <c:pt idx="1">
                  <c:v>0.43000000000000038</c:v>
                </c:pt>
              </c:numCache>
            </c:numRef>
          </c:val>
        </c:ser>
        <c:ser>
          <c:idx val="5"/>
          <c:order val="5"/>
          <c:tx>
            <c:strRef>
              <c:f>Sheet1!$G$1</c:f>
              <c:strCache>
                <c:ptCount val="1"/>
              </c:strCache>
            </c:strRef>
          </c:tx>
          <c:spPr>
            <a:solidFill>
              <a:srgbClr val="FFFFFF"/>
            </a:solidFill>
            <a:ln w="12699">
              <a:solidFill>
                <a:srgbClr val="000000"/>
              </a:solidFill>
              <a:prstDash val="solid"/>
            </a:ln>
          </c:spPr>
          <c:invertIfNegative val="0"/>
          <c:cat>
            <c:numRef>
              <c:f>Sheet1!$A$2:$A$3</c:f>
              <c:numCache>
                <c:formatCode>General</c:formatCode>
                <c:ptCount val="2"/>
              </c:numCache>
            </c:numRef>
          </c:cat>
          <c:val>
            <c:numRef>
              <c:f>Sheet1!$G$2:$G$3</c:f>
              <c:numCache>
                <c:formatCode>""#,##0.0"";""\-""#,##0.0""</c:formatCode>
                <c:ptCount val="2"/>
                <c:pt idx="0" formatCode="General">
                  <c:v>0.95000000000000062</c:v>
                </c:pt>
                <c:pt idx="1">
                  <c:v>0.55000000000000004</c:v>
                </c:pt>
              </c:numCache>
            </c:numRef>
          </c:val>
        </c:ser>
        <c:dLbls>
          <c:showLegendKey val="0"/>
          <c:showVal val="0"/>
          <c:showCatName val="0"/>
          <c:showSerName val="0"/>
          <c:showPercent val="0"/>
          <c:showBubbleSize val="0"/>
        </c:dLbls>
        <c:gapWidth val="40"/>
        <c:overlap val="100"/>
        <c:axId val="276819056"/>
        <c:axId val="282063240"/>
      </c:barChart>
      <c:catAx>
        <c:axId val="276819056"/>
        <c:scaling>
          <c:orientation val="minMax"/>
        </c:scaling>
        <c:delete val="0"/>
        <c:axPos val="b"/>
        <c:numFmt formatCode="General" sourceLinked="1"/>
        <c:majorTickMark val="none"/>
        <c:minorTickMark val="none"/>
        <c:tickLblPos val="none"/>
        <c:spPr>
          <a:ln w="38098">
            <a:solidFill>
              <a:schemeClr val="tx1"/>
            </a:solidFill>
            <a:prstDash val="solid"/>
          </a:ln>
        </c:spPr>
        <c:crossAx val="282063240"/>
        <c:crossesAt val="0"/>
        <c:auto val="1"/>
        <c:lblAlgn val="ctr"/>
        <c:lblOffset val="100"/>
        <c:tickLblSkip val="1"/>
        <c:tickMarkSkip val="1"/>
        <c:noMultiLvlLbl val="0"/>
      </c:catAx>
      <c:valAx>
        <c:axId val="282063240"/>
        <c:scaling>
          <c:orientation val="minMax"/>
          <c:max val="35.220000000000013"/>
          <c:min val="0"/>
        </c:scaling>
        <c:delete val="0"/>
        <c:axPos val="l"/>
        <c:numFmt formatCode="&quot;&quot;#,##0.0&quot;&quot;;&quot;&quot;\-&quot;&quot;#,##0.0&quot;&quot;" sourceLinked="1"/>
        <c:majorTickMark val="none"/>
        <c:minorTickMark val="none"/>
        <c:tickLblPos val="none"/>
        <c:spPr>
          <a:ln w="9524">
            <a:noFill/>
          </a:ln>
        </c:spPr>
        <c:crossAx val="276819056"/>
        <c:crosses val="autoZero"/>
        <c:crossBetween val="between"/>
        <c:majorUnit val="1"/>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344E846-5B4E-4FDF-B202-4B671F6B5239}" type="datetimeFigureOut">
              <a:rPr lang="en-US" smtClean="0"/>
              <a:t>12/9/2016</a:t>
            </a:fld>
            <a:endParaRPr lang="en-US" dirty="0"/>
          </a:p>
        </p:txBody>
      </p:sp>
      <p:sp>
        <p:nvSpPr>
          <p:cNvPr id="4" name="Footer Placeholder 3"/>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E75F8942-447D-43B3-937B-3CBC62A483C2}" type="slidenum">
              <a:rPr lang="en-US" smtClean="0"/>
              <a:t>‹#›</a:t>
            </a:fld>
            <a:endParaRPr lang="en-US" dirty="0"/>
          </a:p>
        </p:txBody>
      </p:sp>
    </p:spTree>
    <p:extLst>
      <p:ext uri="{BB962C8B-B14F-4D97-AF65-F5344CB8AC3E}">
        <p14:creationId xmlns:p14="http://schemas.microsoft.com/office/powerpoint/2010/main" val="3887274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2279502F-F281-4573-98AB-B638403F17B5}" type="datetimeFigureOut">
              <a:rPr lang="en-US" smtClean="0"/>
              <a:t>12/9/2016</a:t>
            </a:fld>
            <a:endParaRPr lang="en-US"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1D5A84D0-3163-4CD9-9F48-97A985163F52}" type="slidenum">
              <a:rPr lang="en-US" smtClean="0"/>
              <a:t>‹#›</a:t>
            </a:fld>
            <a:endParaRPr lang="en-US" dirty="0"/>
          </a:p>
        </p:txBody>
      </p:sp>
    </p:spTree>
    <p:extLst>
      <p:ext uri="{BB962C8B-B14F-4D97-AF65-F5344CB8AC3E}">
        <p14:creationId xmlns:p14="http://schemas.microsoft.com/office/powerpoint/2010/main" val="33963820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fld id="{FF9FC856-20BB-4456-90D7-D0CE2A2C5B97}"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7326292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itchFamily="2" charset="2"/>
              <a:buChar char="§"/>
            </a:pPr>
            <a:endParaRPr lang="en-US" dirty="0" smtClean="0">
              <a:latin typeface="Calibri" pitchFamily="34" charset="0"/>
              <a:cs typeface="Calibri" pitchFamily="34" charset="0"/>
            </a:endParaRPr>
          </a:p>
          <a:p>
            <a:pPr defTabSz="947887">
              <a:buFont typeface="Wingdings" pitchFamily="2" charset="2"/>
              <a:buChar char="§"/>
              <a:defRPr/>
            </a:pPr>
            <a:r>
              <a:rPr lang="en-PH" dirty="0" smtClean="0">
                <a:latin typeface="Zetta Sans" panose="020B0000000000000000" pitchFamily="2" charset="0"/>
              </a:rPr>
              <a:t>85 vessels owned by Maersk Line were retrofitted in 2013-14. 60 chartered in vessels were also retrofitted. Some retrofits were financed by Maersk Line alone, others through cost sharing with the ship owner.</a:t>
            </a:r>
            <a:endParaRPr lang="en-US" dirty="0" smtClean="0">
              <a:latin typeface="Calibri" pitchFamily="34" charset="0"/>
              <a:cs typeface="Calibri" pitchFamily="34" charset="0"/>
            </a:endParaRPr>
          </a:p>
          <a:p>
            <a:pPr>
              <a:buFont typeface="Wingdings" pitchFamily="2" charset="2"/>
              <a:buChar char="§"/>
            </a:pPr>
            <a:endParaRPr lang="en-US" dirty="0" smtClean="0">
              <a:latin typeface="Calibri" pitchFamily="34" charset="0"/>
              <a:cs typeface="Calibri" pitchFamily="34" charset="0"/>
            </a:endParaRPr>
          </a:p>
          <a:p>
            <a:pPr>
              <a:buFont typeface="Wingdings" pitchFamily="2" charset="2"/>
              <a:buChar char="§"/>
            </a:pPr>
            <a:r>
              <a:rPr lang="en-US" dirty="0" smtClean="0">
                <a:latin typeface="Calibri" pitchFamily="34" charset="0"/>
                <a:cs typeface="Calibri" pitchFamily="34" charset="0"/>
              </a:rPr>
              <a:t>Projects incl. replacing bulbous bow, raising the navigation bridge, engine modifications etc.</a:t>
            </a:r>
          </a:p>
          <a:p>
            <a:endParaRPr lang="en-US" dirty="0" smtClean="0">
              <a:latin typeface="Calibri" pitchFamily="34" charset="0"/>
              <a:cs typeface="Calibri" pitchFamily="34" charset="0"/>
            </a:endParaRPr>
          </a:p>
          <a:p>
            <a:pPr>
              <a:buFont typeface="Wingdings" pitchFamily="2" charset="2"/>
              <a:buChar char="§"/>
            </a:pPr>
            <a:r>
              <a:rPr lang="en-US" dirty="0" smtClean="0">
                <a:latin typeface="Calibri" pitchFamily="34" charset="0"/>
                <a:cs typeface="Calibri" pitchFamily="34" charset="0"/>
              </a:rPr>
              <a:t> Investments of  </a:t>
            </a:r>
            <a:r>
              <a:rPr lang="en-US" dirty="0" smtClean="0">
                <a:latin typeface="Calibri"/>
              </a:rPr>
              <a:t>5-10 million USD per ship, can have a payback of only 1-2 years.</a:t>
            </a:r>
          </a:p>
          <a:p>
            <a:endParaRPr lang="en-US" dirty="0" smtClean="0">
              <a:latin typeface="Calibri" pitchFamily="34" charset="0"/>
            </a:endParaRPr>
          </a:p>
          <a:p>
            <a:pPr>
              <a:buFont typeface="Wingdings" pitchFamily="2" charset="2"/>
              <a:buChar char="§"/>
            </a:pPr>
            <a:r>
              <a:rPr lang="en-US" dirty="0" smtClean="0">
                <a:latin typeface="Calibri" pitchFamily="34" charset="0"/>
              </a:rPr>
              <a:t> In September 2014, Maersk Line announced an investment plan of 1 billion USD  in upgrades over the next 5 years.</a:t>
            </a:r>
            <a:endParaRPr lang="en-US" dirty="0" smtClean="0"/>
          </a:p>
          <a:p>
            <a:endParaRPr lang="en-US" dirty="0"/>
          </a:p>
        </p:txBody>
      </p:sp>
      <p:sp>
        <p:nvSpPr>
          <p:cNvPr id="4" name="Slide Number Placeholder 3"/>
          <p:cNvSpPr>
            <a:spLocks noGrp="1"/>
          </p:cNvSpPr>
          <p:nvPr>
            <p:ph type="sldNum" sz="quarter" idx="10"/>
          </p:nvPr>
        </p:nvSpPr>
        <p:spPr/>
        <p:txBody>
          <a:bodyPr/>
          <a:lstStyle/>
          <a:p>
            <a:fld id="{FF9FC856-20BB-4456-90D7-D0CE2A2C5B97}"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2673840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xfrm>
            <a:off x="1695450" y="293688"/>
            <a:ext cx="5967413" cy="3355975"/>
          </a:xfrm>
          <a:ln/>
        </p:spPr>
      </p:sp>
      <p:sp>
        <p:nvSpPr>
          <p:cNvPr id="97283" name="Rectangle 3"/>
          <p:cNvSpPr>
            <a:spLocks noGrp="1" noChangeArrowheads="1"/>
          </p:cNvSpPr>
          <p:nvPr>
            <p:ph type="body" idx="1"/>
          </p:nvPr>
        </p:nvSpPr>
        <p:spPr>
          <a:xfrm>
            <a:off x="273051" y="3746897"/>
            <a:ext cx="8809568" cy="160734"/>
          </a:xfrm>
          <a:noFill/>
          <a:ln/>
        </p:spPr>
        <p:txBody>
          <a:bodyPr>
            <a:normAutofit fontScale="25000" lnSpcReduction="20000"/>
          </a:bodyPr>
          <a:lstStyle/>
          <a:p>
            <a:pPr eaLnBrk="1" hangingPunct="1">
              <a:buFont typeface="Arial" pitchFamily="34" charset="0"/>
              <a:buChar char="•"/>
            </a:pPr>
            <a:r>
              <a:rPr lang="en-US" dirty="0" smtClean="0"/>
              <a:t> Port</a:t>
            </a:r>
            <a:r>
              <a:rPr lang="en-US" baseline="0" dirty="0" smtClean="0"/>
              <a:t> Captains are now in place at all major US ports</a:t>
            </a:r>
          </a:p>
          <a:p>
            <a:pPr eaLnBrk="1" hangingPunct="1">
              <a:buFont typeface="Arial" pitchFamily="34" charset="0"/>
              <a:buChar char="•"/>
            </a:pPr>
            <a:r>
              <a:rPr lang="en-US" baseline="0" dirty="0" smtClean="0"/>
              <a:t>Port stay will be optimized across all parts of the voyage (6 steps) from arrival at sea buoy to pilot embarkation upon departure</a:t>
            </a:r>
          </a:p>
          <a:p>
            <a:pPr eaLnBrk="1" hangingPunct="1">
              <a:buFont typeface="Arial" pitchFamily="34" charset="0"/>
              <a:buChar char="•"/>
            </a:pPr>
            <a:r>
              <a:rPr lang="en-US" baseline="0" dirty="0" smtClean="0"/>
              <a:t> Objective: to remove unproductive time in each part of the 6 step chain (waiting time, delays, double work etc) – by working together to identify and correct root causes </a:t>
            </a:r>
          </a:p>
        </p:txBody>
      </p:sp>
    </p:spTree>
    <p:extLst>
      <p:ext uri="{BB962C8B-B14F-4D97-AF65-F5344CB8AC3E}">
        <p14:creationId xmlns:p14="http://schemas.microsoft.com/office/powerpoint/2010/main" val="2974823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7DBAE53-8855-458C-8066-F442CFB720EC}" type="slidenum">
              <a:rPr lang="en-US" smtClean="0"/>
              <a:t>12</a:t>
            </a:fld>
            <a:endParaRPr lang="en-US" dirty="0"/>
          </a:p>
        </p:txBody>
      </p:sp>
    </p:spTree>
    <p:extLst>
      <p:ext uri="{BB962C8B-B14F-4D97-AF65-F5344CB8AC3E}">
        <p14:creationId xmlns:p14="http://schemas.microsoft.com/office/powerpoint/2010/main" val="2349371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000" dirty="0" smtClean="0">
                <a:solidFill>
                  <a:srgbClr val="000000"/>
                </a:solidFill>
              </a:rPr>
              <a:t> Prevented &gt;4 million kg. of air emissions</a:t>
            </a:r>
          </a:p>
          <a:p>
            <a:endParaRPr lang="en-US" sz="1000" b="1" u="sng" dirty="0" smtClean="0">
              <a:latin typeface="+mn-lt"/>
            </a:endParaRPr>
          </a:p>
        </p:txBody>
      </p:sp>
      <p:sp>
        <p:nvSpPr>
          <p:cNvPr id="4" name="Slide Number Placeholder 3"/>
          <p:cNvSpPr>
            <a:spLocks noGrp="1"/>
          </p:cNvSpPr>
          <p:nvPr>
            <p:ph type="sldNum" sz="quarter" idx="10"/>
          </p:nvPr>
        </p:nvSpPr>
        <p:spPr/>
        <p:txBody>
          <a:bodyPr/>
          <a:lstStyle/>
          <a:p>
            <a:pPr>
              <a:defRPr/>
            </a:pPr>
            <a:fld id="{253C0F0A-0169-4AF4-8245-81D4CAAE88B8}" type="slidenum">
              <a:rPr lang="en-GB" smtClean="0">
                <a:solidFill>
                  <a:prstClr val="black"/>
                </a:solidFill>
              </a:rPr>
              <a:pPr>
                <a:defRPr/>
              </a:pPr>
              <a:t>13</a:t>
            </a:fld>
            <a:endParaRPr lang="en-GB" dirty="0">
              <a:solidFill>
                <a:prstClr val="black"/>
              </a:solidFill>
            </a:endParaRPr>
          </a:p>
        </p:txBody>
      </p:sp>
    </p:spTree>
    <p:extLst>
      <p:ext uri="{BB962C8B-B14F-4D97-AF65-F5344CB8AC3E}">
        <p14:creationId xmlns:p14="http://schemas.microsoft.com/office/powerpoint/2010/main" val="503133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en-US" sz="1000" b="1" u="sng" dirty="0"/>
          </a:p>
        </p:txBody>
      </p:sp>
      <p:sp>
        <p:nvSpPr>
          <p:cNvPr id="4" name="Slide Number Placeholder 3"/>
          <p:cNvSpPr>
            <a:spLocks noGrp="1"/>
          </p:cNvSpPr>
          <p:nvPr>
            <p:ph type="sldNum" sz="quarter" idx="10"/>
          </p:nvPr>
        </p:nvSpPr>
        <p:spPr/>
        <p:txBody>
          <a:bodyPr/>
          <a:lstStyle/>
          <a:p>
            <a:pPr>
              <a:defRPr/>
            </a:pPr>
            <a:fld id="{253C0F0A-0169-4AF4-8245-81D4CAAE88B8}" type="slidenum">
              <a:rPr lang="en-GB" smtClean="0">
                <a:solidFill>
                  <a:prstClr val="black"/>
                </a:solidFill>
              </a:rPr>
              <a:pPr>
                <a:defRPr/>
              </a:pPr>
              <a:t>14</a:t>
            </a:fld>
            <a:endParaRPr lang="en-GB" dirty="0">
              <a:solidFill>
                <a:prstClr val="black"/>
              </a:solidFill>
            </a:endParaRPr>
          </a:p>
        </p:txBody>
      </p:sp>
    </p:spTree>
    <p:extLst>
      <p:ext uri="{BB962C8B-B14F-4D97-AF65-F5344CB8AC3E}">
        <p14:creationId xmlns:p14="http://schemas.microsoft.com/office/powerpoint/2010/main" val="30343709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600" b="1" dirty="0" smtClean="0"/>
              <a:t>Two compliance options: </a:t>
            </a:r>
          </a:p>
          <a:p>
            <a:pPr marL="550863" lvl="1" indent="-342900">
              <a:buFont typeface="+mj-lt"/>
              <a:buAutoNum type="arabicPeriod"/>
            </a:pPr>
            <a:r>
              <a:rPr lang="en-US" sz="1600" dirty="0" smtClean="0">
                <a:ea typeface="+mn-ea"/>
                <a:cs typeface="+mn-cs"/>
              </a:rPr>
              <a:t>Shore Power only (most carriers)</a:t>
            </a:r>
          </a:p>
          <a:p>
            <a:pPr marL="550863" lvl="1" indent="-342900">
              <a:buFont typeface="+mj-lt"/>
              <a:buAutoNum type="arabicPeriod"/>
            </a:pPr>
            <a:r>
              <a:rPr lang="en-US" sz="1600" dirty="0" smtClean="0">
                <a:ea typeface="+mn-ea"/>
                <a:cs typeface="+mn-cs"/>
              </a:rPr>
              <a:t>Equivalent Emissions Reduction starting in 2010 (Maersk &amp; NYK)</a:t>
            </a:r>
          </a:p>
          <a:p>
            <a:pPr lvl="1">
              <a:buNone/>
            </a:pPr>
            <a:endParaRPr lang="en-US" sz="1000" dirty="0" smtClean="0">
              <a:ea typeface="+mn-ea"/>
              <a:cs typeface="+mn-cs"/>
            </a:endParaRPr>
          </a:p>
          <a:p>
            <a:r>
              <a:rPr lang="en-US" sz="1600" b="1" dirty="0" smtClean="0"/>
              <a:t>Status: Maersk Line chose the more flexible EER option.</a:t>
            </a:r>
          </a:p>
          <a:p>
            <a:pPr lvl="1"/>
            <a:r>
              <a:rPr lang="en-US" sz="1600" dirty="0" smtClean="0">
                <a:ea typeface="+mn-ea"/>
                <a:cs typeface="+mn-cs"/>
              </a:rPr>
              <a:t>2010 – 2013 ML complied with credits from early fuel switch programs</a:t>
            </a:r>
          </a:p>
          <a:p>
            <a:pPr lvl="1"/>
            <a:r>
              <a:rPr lang="en-US" sz="1600" dirty="0" smtClean="0">
                <a:ea typeface="+mn-ea"/>
                <a:cs typeface="+mn-cs"/>
              </a:rPr>
              <a:t>2014 </a:t>
            </a:r>
            <a:r>
              <a:rPr lang="en-US" sz="1600" dirty="0" smtClean="0">
                <a:ea typeface="+mn-ea"/>
                <a:cs typeface="+mn-cs"/>
              </a:rPr>
              <a:t>AMP </a:t>
            </a:r>
            <a:r>
              <a:rPr lang="en-US" sz="1600" dirty="0" smtClean="0">
                <a:ea typeface="+mn-ea"/>
                <a:cs typeface="+mn-cs"/>
              </a:rPr>
              <a:t>for a 50% reduction; continue to search for alternatives.</a:t>
            </a:r>
          </a:p>
          <a:p>
            <a:endParaRPr lang="en-US" dirty="0"/>
          </a:p>
        </p:txBody>
      </p:sp>
      <p:sp>
        <p:nvSpPr>
          <p:cNvPr id="4" name="Slide Number Placeholder 3"/>
          <p:cNvSpPr>
            <a:spLocks noGrp="1"/>
          </p:cNvSpPr>
          <p:nvPr>
            <p:ph type="sldNum" sz="quarter" idx="10"/>
          </p:nvPr>
        </p:nvSpPr>
        <p:spPr/>
        <p:txBody>
          <a:bodyPr/>
          <a:lstStyle/>
          <a:p>
            <a:fld id="{9CA7E4AC-82CC-43FB-85C9-6A4D87EA7187}" type="slidenum">
              <a:rPr lang="en-US" smtClean="0"/>
              <a:pPr/>
              <a:t>16</a:t>
            </a:fld>
            <a:endParaRPr lang="en-US" dirty="0"/>
          </a:p>
        </p:txBody>
      </p:sp>
    </p:spTree>
    <p:extLst>
      <p:ext uri="{BB962C8B-B14F-4D97-AF65-F5344CB8AC3E}">
        <p14:creationId xmlns:p14="http://schemas.microsoft.com/office/powerpoint/2010/main" val="39993058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ident:</a:t>
            </a:r>
          </a:p>
          <a:p>
            <a:r>
              <a:rPr lang="sv-SE" dirty="0" smtClean="0"/>
              <a:t>A large vessel can save 500-1000 </a:t>
            </a:r>
            <a:r>
              <a:rPr lang="en-US" dirty="0" smtClean="0"/>
              <a:t>$/h</a:t>
            </a:r>
          </a:p>
          <a:p>
            <a:r>
              <a:rPr lang="en-US" dirty="0" smtClean="0"/>
              <a:t>We have surveyed all EU</a:t>
            </a:r>
            <a:r>
              <a:rPr lang="en-US" baseline="0" dirty="0" smtClean="0"/>
              <a:t> states, and the picture is rather depressing…</a:t>
            </a:r>
          </a:p>
          <a:p>
            <a:r>
              <a:rPr lang="en-US" sz="2400" dirty="0" smtClean="0"/>
              <a:t>Norwegian Maritime Authority:</a:t>
            </a:r>
          </a:p>
          <a:p>
            <a:pPr lvl="1"/>
            <a:r>
              <a:rPr lang="en-US" sz="2000" dirty="0" smtClean="0"/>
              <a:t>Sardius, De Bock Maritiem BV, breached the 0.10% sulphur limit within the ECA twice. The fine was NOK 100,000 (ca </a:t>
            </a:r>
            <a:r>
              <a:rPr lang="en-US" sz="2000" b="1" dirty="0" smtClean="0"/>
              <a:t>$12,200</a:t>
            </a:r>
            <a:r>
              <a:rPr lang="en-US" sz="2000" dirty="0" smtClean="0"/>
              <a:t>).</a:t>
            </a:r>
          </a:p>
          <a:p>
            <a:r>
              <a:rPr lang="nb-NO" dirty="0" smtClean="0"/>
              <a:t>Denmark has as many as 8 cases under preparation but over a year later we</a:t>
            </a:r>
            <a:r>
              <a:rPr lang="nb-NO" baseline="0" dirty="0" smtClean="0"/>
              <a:t> have seen no outcomes. </a:t>
            </a:r>
          </a:p>
          <a:p>
            <a:endParaRPr lang="nb-NO" baseline="0" dirty="0" smtClean="0"/>
          </a:p>
          <a:p>
            <a:pPr marL="285750" indent="-285750">
              <a:buFont typeface="Arial" panose="020B0604020202020204" pitchFamily="34" charset="0"/>
              <a:buChar char="•"/>
            </a:pPr>
            <a:r>
              <a:rPr lang="en-US" dirty="0" smtClean="0"/>
              <a:t>Clear legal framework</a:t>
            </a:r>
          </a:p>
          <a:p>
            <a:pPr marL="285750" indent="-285750">
              <a:buFont typeface="Arial" panose="020B0604020202020204" pitchFamily="34" charset="0"/>
              <a:buChar char="•"/>
            </a:pPr>
            <a:r>
              <a:rPr lang="en-US" dirty="0" smtClean="0"/>
              <a:t>Timely and dissuasive penalties </a:t>
            </a:r>
          </a:p>
          <a:p>
            <a:pPr marL="285750" indent="-285750">
              <a:buFont typeface="Arial" panose="020B0604020202020204" pitchFamily="34" charset="0"/>
              <a:buChar char="•"/>
            </a:pPr>
            <a:r>
              <a:rPr lang="en-US" dirty="0" smtClean="0"/>
              <a:t>Adequate resources</a:t>
            </a:r>
          </a:p>
          <a:p>
            <a:pPr marL="285750" indent="-285750">
              <a:buFont typeface="Arial" panose="020B0604020202020204" pitchFamily="34" charset="0"/>
              <a:buChar char="•"/>
            </a:pPr>
            <a:r>
              <a:rPr lang="en-US" dirty="0" smtClean="0"/>
              <a:t>Effective implementation</a:t>
            </a:r>
          </a:p>
          <a:p>
            <a:endParaRPr lang="en-US" dirty="0"/>
          </a:p>
        </p:txBody>
      </p:sp>
      <p:sp>
        <p:nvSpPr>
          <p:cNvPr id="4" name="Slide Number Placeholder 3"/>
          <p:cNvSpPr>
            <a:spLocks noGrp="1"/>
          </p:cNvSpPr>
          <p:nvPr>
            <p:ph type="sldNum" sz="quarter" idx="10"/>
          </p:nvPr>
        </p:nvSpPr>
        <p:spPr/>
        <p:txBody>
          <a:bodyPr/>
          <a:lstStyle/>
          <a:p>
            <a:fld id="{1D5A84D0-3163-4CD9-9F48-97A985163F52}" type="slidenum">
              <a:rPr lang="en-US" smtClean="0"/>
              <a:t>18</a:t>
            </a:fld>
            <a:endParaRPr lang="en-US" dirty="0"/>
          </a:p>
        </p:txBody>
      </p:sp>
    </p:spTree>
    <p:extLst>
      <p:ext uri="{BB962C8B-B14F-4D97-AF65-F5344CB8AC3E}">
        <p14:creationId xmlns:p14="http://schemas.microsoft.com/office/powerpoint/2010/main" val="12278556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93195A88-328F-4D9D-94AE-83FB079BD0B2}" type="slidenum">
              <a:rPr lang="en-US" smtClean="0">
                <a:solidFill>
                  <a:prstClr val="black"/>
                </a:solidFill>
              </a:rPr>
              <a:pPr/>
              <a:t>19</a:t>
            </a:fld>
            <a:endParaRPr lang="en-US" dirty="0" smtClean="0">
              <a:solidFill>
                <a:prstClr val="black"/>
              </a:solidFill>
            </a:endParaRPr>
          </a:p>
        </p:txBody>
      </p:sp>
      <p:sp>
        <p:nvSpPr>
          <p:cNvPr id="23555" name="Rectangle 2"/>
          <p:cNvSpPr>
            <a:spLocks noGrp="1" noRot="1" noChangeAspect="1" noChangeArrowheads="1" noTextEdit="1"/>
          </p:cNvSpPr>
          <p:nvPr>
            <p:ph type="sldImg"/>
          </p:nvPr>
        </p:nvSpPr>
        <p:spPr>
          <a:xfrm>
            <a:off x="382588" y="687388"/>
            <a:ext cx="6092825" cy="3427412"/>
          </a:xfrm>
          <a:ln/>
        </p:spPr>
      </p:sp>
      <p:sp>
        <p:nvSpPr>
          <p:cNvPr id="23556" name="Rectangle 3"/>
          <p:cNvSpPr>
            <a:spLocks noGrp="1" noChangeArrowheads="1"/>
          </p:cNvSpPr>
          <p:nvPr>
            <p:ph type="body" idx="1"/>
          </p:nvPr>
        </p:nvSpPr>
        <p:spPr>
          <a:xfrm>
            <a:off x="685481" y="4344608"/>
            <a:ext cx="5487041" cy="4113556"/>
          </a:xfrm>
          <a:noFill/>
          <a:ln/>
        </p:spPr>
        <p:txBody>
          <a:bodyPr/>
          <a:lstStyle/>
          <a:p>
            <a:pPr marL="341703" indent="-341703">
              <a:lnSpc>
                <a:spcPct val="150000"/>
              </a:lnSpc>
              <a:tabLst>
                <a:tab pos="683407" algn="l"/>
              </a:tabLst>
            </a:pPr>
            <a:endParaRPr lang="da-DK" sz="1800" dirty="0">
              <a:latin typeface="Times New Roman" pitchFamily="18" charset="0"/>
              <a:cs typeface="Times New Roman" pitchFamily="18" charset="0"/>
            </a:endParaRPr>
          </a:p>
        </p:txBody>
      </p:sp>
    </p:spTree>
    <p:extLst>
      <p:ext uri="{BB962C8B-B14F-4D97-AF65-F5344CB8AC3E}">
        <p14:creationId xmlns:p14="http://schemas.microsoft.com/office/powerpoint/2010/main" val="1190118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 headquartered in Copenhagen Denmark and serve our customers through 306 offices in 114 countries. </a:t>
            </a:r>
          </a:p>
          <a:p>
            <a:endParaRPr lang="en-GB" dirty="0" smtClean="0"/>
          </a:p>
          <a:p>
            <a:r>
              <a:rPr lang="en-GB" dirty="0" smtClean="0"/>
              <a:t>We employ 7,700 seafarers and 22,000 land-based employees and operate 616 container vessels</a:t>
            </a:r>
            <a:r>
              <a:rPr lang="en-GB" baseline="0" dirty="0" smtClean="0"/>
              <a:t> </a:t>
            </a:r>
            <a:r>
              <a:rPr lang="en-GB" dirty="0" smtClean="0"/>
              <a:t>with a capacity of 3.1million TEU (Twenty-Foot Equivalent Unit)</a:t>
            </a:r>
          </a:p>
          <a:p>
            <a:endParaRPr lang="en-US" dirty="0"/>
          </a:p>
        </p:txBody>
      </p:sp>
      <p:sp>
        <p:nvSpPr>
          <p:cNvPr id="4" name="Slide Number Placeholder 3"/>
          <p:cNvSpPr>
            <a:spLocks noGrp="1"/>
          </p:cNvSpPr>
          <p:nvPr>
            <p:ph type="sldNum" sz="quarter" idx="10"/>
          </p:nvPr>
        </p:nvSpPr>
        <p:spPr/>
        <p:txBody>
          <a:bodyPr/>
          <a:lstStyle/>
          <a:p>
            <a:fld id="{A2E86ADF-D492-4DD6-9F1D-82F447792F25}"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582784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0563" y="558800"/>
            <a:ext cx="4962525" cy="2790825"/>
          </a:xfrm>
        </p:spPr>
      </p:sp>
      <p:sp>
        <p:nvSpPr>
          <p:cNvPr id="3" name="Notes Placeholder 2"/>
          <p:cNvSpPr>
            <a:spLocks noGrp="1"/>
          </p:cNvSpPr>
          <p:nvPr>
            <p:ph type="body" idx="1"/>
          </p:nvPr>
        </p:nvSpPr>
        <p:spPr/>
        <p:txBody>
          <a:bodyPr>
            <a:normAutofit/>
          </a:bodyPr>
          <a:lstStyle/>
          <a:p>
            <a:pPr marL="0" marR="0" lvl="1" indent="0" algn="l" defTabSz="914400" rtl="0" eaLnBrk="0" fontAlgn="base" latinLnBrk="0" hangingPunct="0">
              <a:lnSpc>
                <a:spcPct val="100000"/>
              </a:lnSpc>
              <a:spcBef>
                <a:spcPct val="30000"/>
              </a:spcBef>
              <a:spcAft>
                <a:spcPct val="0"/>
              </a:spcAft>
              <a:buClrTx/>
              <a:buSzTx/>
              <a:buFontTx/>
              <a:buChar char="•"/>
              <a:tabLst/>
              <a:defRPr/>
            </a:pPr>
            <a:r>
              <a:rPr lang="en-US" sz="1800" b="1" dirty="0" smtClean="0">
                <a:solidFill>
                  <a:schemeClr val="bg1"/>
                </a:solidFill>
                <a:latin typeface="Zetta Serif Light" charset="0"/>
              </a:rPr>
              <a:t>Shipping affects the lives of billions of people, with 90% of the world’s international trade travelling by sea.</a:t>
            </a:r>
          </a:p>
          <a:p>
            <a:pPr>
              <a:buFontTx/>
              <a:buNone/>
            </a:pPr>
            <a:endParaRPr lang="en-US" dirty="0" smtClean="0"/>
          </a:p>
          <a:p>
            <a:pPr>
              <a:buFontTx/>
              <a:buChar char="•"/>
            </a:pPr>
            <a:r>
              <a:rPr lang="en-US" dirty="0" smtClean="0"/>
              <a:t> Our role in the world is to enable trade by transporting goods via the sea</a:t>
            </a:r>
          </a:p>
          <a:p>
            <a:pPr>
              <a:buFontTx/>
              <a:buChar char="•"/>
            </a:pPr>
            <a:r>
              <a:rPr lang="en-US" dirty="0" smtClean="0"/>
              <a:t> We do that using 500+ vessels</a:t>
            </a:r>
          </a:p>
          <a:p>
            <a:pPr>
              <a:buFontTx/>
              <a:buChar char="•"/>
            </a:pPr>
            <a:r>
              <a:rPr lang="en-US" dirty="0" smtClean="0"/>
              <a:t> The size, footprint and global reach of this large operation highlights the importance of becoming more sustainable</a:t>
            </a:r>
          </a:p>
          <a:p>
            <a:pPr>
              <a:buFontTx/>
              <a:buChar char="•"/>
            </a:pPr>
            <a:r>
              <a:rPr lang="en-US" dirty="0" smtClean="0"/>
              <a:t> We believe in the growth of international trade and the growth of or company</a:t>
            </a:r>
          </a:p>
          <a:p>
            <a:pPr>
              <a:buFontTx/>
              <a:buChar char="•"/>
            </a:pPr>
            <a:r>
              <a:rPr lang="en-US" dirty="0" smtClean="0"/>
              <a:t> We therefore must grow responsibly and continue to improve our environmental performance</a:t>
            </a:r>
          </a:p>
          <a:p>
            <a:pPr marL="171672" indent="-171672">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1D89D63-825C-415E-8C22-0950E42CF80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69575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cean shipping (as part of global supply chains) is the most energy-efficient way to move cargo…</a:t>
            </a:r>
          </a:p>
          <a:p>
            <a:r>
              <a:rPr lang="en-US" dirty="0" smtClean="0"/>
              <a:t>But is impacting the planet</a:t>
            </a:r>
          </a:p>
          <a:p>
            <a:r>
              <a:rPr lang="en-US" dirty="0" smtClean="0"/>
              <a:t>(CO2 emitted total by industry??)</a:t>
            </a:r>
          </a:p>
          <a:p>
            <a:endParaRPr lang="en-US" dirty="0"/>
          </a:p>
        </p:txBody>
      </p:sp>
      <p:sp>
        <p:nvSpPr>
          <p:cNvPr id="4" name="Slide Number Placeholder 3"/>
          <p:cNvSpPr>
            <a:spLocks noGrp="1"/>
          </p:cNvSpPr>
          <p:nvPr>
            <p:ph type="sldNum" sz="quarter" idx="10"/>
          </p:nvPr>
        </p:nvSpPr>
        <p:spPr/>
        <p:txBody>
          <a:bodyPr/>
          <a:lstStyle/>
          <a:p>
            <a:fld id="{BD637433-8352-471D-8A30-CCC945B963FE}" type="slidenum">
              <a:rPr lang="en-US" smtClean="0"/>
              <a:pPr/>
              <a:t>4</a:t>
            </a:fld>
            <a:endParaRPr lang="en-US" dirty="0"/>
          </a:p>
        </p:txBody>
      </p:sp>
    </p:spTree>
    <p:extLst>
      <p:ext uri="{BB962C8B-B14F-4D97-AF65-F5344CB8AC3E}">
        <p14:creationId xmlns:p14="http://schemas.microsoft.com/office/powerpoint/2010/main" val="943502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r>
              <a:rPr lang="en-US" dirty="0"/>
              <a:t>Million of people live near ports and rail yards, including a disproportionate number of low-income households, African-Americans, and Hispanics</a:t>
            </a:r>
          </a:p>
          <a:p>
            <a:r>
              <a:rPr lang="en-US" dirty="0"/>
              <a:t>Trade is growing, and port expansion projects are underway.</a:t>
            </a:r>
          </a:p>
          <a:p>
            <a:r>
              <a:rPr lang="en-US" dirty="0"/>
              <a:t>Emission reduction technologies and strategies have been slow in implementation</a:t>
            </a:r>
          </a:p>
          <a:p>
            <a:endParaRPr lang="en-US" dirty="0"/>
          </a:p>
          <a:p>
            <a:r>
              <a:rPr lang="en-US" dirty="0"/>
              <a:t>NON-ATTAINMENT IS JUST ONE INDICATOR OF AIR</a:t>
            </a:r>
            <a:r>
              <a:rPr lang="en-US" baseline="0" dirty="0"/>
              <a:t> QUALITY AND </a:t>
            </a:r>
            <a:r>
              <a:rPr lang="en-US" dirty="0"/>
              <a:t>IMPACTS</a:t>
            </a:r>
          </a:p>
          <a:p>
            <a:pPr marL="285750" indent="-285750">
              <a:buFont typeface="Arial" panose="020B0604020202020204" pitchFamily="34" charset="0"/>
              <a:buChar char="•"/>
            </a:pPr>
            <a:r>
              <a:rPr lang="en-US" sz="1600" b="1" kern="1200" dirty="0">
                <a:solidFill>
                  <a:schemeClr val="tx1"/>
                </a:solidFill>
                <a:effectLst/>
                <a:latin typeface="+mn-lt"/>
                <a:ea typeface="+mn-ea"/>
                <a:cs typeface="+mn-cs"/>
              </a:rPr>
              <a:t>Based on GIS data, approximately 40% of “Principal Ports” were located in or near current nonattainment or maintenance areas (see Figure below). </a:t>
            </a:r>
          </a:p>
          <a:p>
            <a:pPr marL="285750" indent="-285750">
              <a:buFont typeface="Arial" panose="020B0604020202020204" pitchFamily="34" charset="0"/>
              <a:buChar char="•"/>
            </a:pPr>
            <a:r>
              <a:rPr lang="en-US" sz="1600" b="1" kern="1200" dirty="0">
                <a:solidFill>
                  <a:schemeClr val="tx1"/>
                </a:solidFill>
                <a:effectLst/>
                <a:latin typeface="+mn-lt"/>
                <a:ea typeface="+mn-ea"/>
                <a:cs typeface="+mn-cs"/>
              </a:rPr>
              <a:t>However, nearby community and worker exposure to diesel emissions can occur at all por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map was based on a comparison of GIS data on the Army Corps of Engineer’s 2014 list of 150 “Principal Ports” and EPA’s latest NAAQS designations. Nonattainment and maintenance area maps reflect the latest EPA NAAAQS for all pollutants</a:t>
            </a:r>
            <a:endParaRPr lang="en-US" dirty="0"/>
          </a:p>
        </p:txBody>
      </p:sp>
      <p:sp>
        <p:nvSpPr>
          <p:cNvPr id="4" name="Slide Number Placeholder 3"/>
          <p:cNvSpPr>
            <a:spLocks noGrp="1"/>
          </p:cNvSpPr>
          <p:nvPr>
            <p:ph type="sldNum" sz="quarter" idx="10"/>
          </p:nvPr>
        </p:nvSpPr>
        <p:spPr/>
        <p:txBody>
          <a:bodyPr/>
          <a:lstStyle/>
          <a:p>
            <a:fld id="{74BDDD23-A896-42B9-A4C5-A945EC610357}" type="slidenum">
              <a:rPr lang="en-US" smtClean="0"/>
              <a:t>5</a:t>
            </a:fld>
            <a:endParaRPr lang="en-US" dirty="0"/>
          </a:p>
        </p:txBody>
      </p:sp>
    </p:spTree>
    <p:extLst>
      <p:ext uri="{BB962C8B-B14F-4D97-AF65-F5344CB8AC3E}">
        <p14:creationId xmlns:p14="http://schemas.microsoft.com/office/powerpoint/2010/main" val="4138142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SzPct val="90000"/>
              <a:buFont typeface="Wingdings" panose="05000000000000000000" pitchFamily="2" charset="2"/>
              <a:buNone/>
            </a:pPr>
            <a:r>
              <a:rPr lang="en-GB" dirty="0" smtClean="0">
                <a:latin typeface="Zetta Sans" panose="020B0000000000000000" pitchFamily="2" charset="0"/>
                <a:ea typeface="ヒラギノ角ゴ Pro W3" charset="0"/>
                <a:cs typeface="ヒラギノ角ゴ Pro W3" charset="0"/>
              </a:rPr>
              <a:t>Triple E</a:t>
            </a:r>
          </a:p>
          <a:p>
            <a:pPr>
              <a:buSzPct val="90000"/>
              <a:buFont typeface="Wingdings" panose="05000000000000000000" pitchFamily="2" charset="2"/>
              <a:buChar char="ü"/>
            </a:pPr>
            <a:r>
              <a:rPr lang="en-GB" dirty="0" smtClean="0">
                <a:latin typeface="Zetta Sans" panose="020B0000000000000000" pitchFamily="2" charset="0"/>
                <a:ea typeface="ヒラギノ角ゴ Pro W3" charset="0"/>
                <a:cs typeface="ヒラギノ角ゴ Pro W3" charset="0"/>
              </a:rPr>
              <a:t>Setting new standards on energy efficiency</a:t>
            </a:r>
          </a:p>
          <a:p>
            <a:pPr>
              <a:buSzPct val="90000"/>
              <a:buFont typeface="Wingdings" panose="05000000000000000000" pitchFamily="2" charset="2"/>
              <a:buChar char="ü"/>
            </a:pPr>
            <a:r>
              <a:rPr lang="en-GB" dirty="0" smtClean="0">
                <a:latin typeface="Zetta Sans" panose="020B0000000000000000" pitchFamily="2" charset="0"/>
                <a:ea typeface="ヒラギノ角ゴ Pro W3" charset="0"/>
                <a:cs typeface="ヒラギノ角ゴ Pro W3" charset="0"/>
              </a:rPr>
              <a:t> Emitting approximately 35% less CO</a:t>
            </a:r>
            <a:r>
              <a:rPr lang="en-GB" baseline="-28000" dirty="0" smtClean="0">
                <a:latin typeface="Zetta Sans" panose="020B0000000000000000" pitchFamily="2" charset="0"/>
                <a:ea typeface="ヒラギノ角ゴ Pro W3" charset="0"/>
                <a:cs typeface="ヒラギノ角ゴ Pro W3" charset="0"/>
              </a:rPr>
              <a:t>2</a:t>
            </a:r>
            <a:r>
              <a:rPr lang="en-GB" dirty="0" smtClean="0">
                <a:latin typeface="Zetta Sans" panose="020B0000000000000000" pitchFamily="2" charset="0"/>
                <a:ea typeface="ヒラギノ角ゴ Pro W3" charset="0"/>
                <a:cs typeface="ヒラギノ角ゴ Pro W3" charset="0"/>
              </a:rPr>
              <a:t> </a:t>
            </a:r>
          </a:p>
          <a:p>
            <a:pPr>
              <a:buSzPct val="90000"/>
              <a:buFont typeface="Wingdings" panose="05000000000000000000" pitchFamily="2" charset="2"/>
              <a:buChar char="ü"/>
            </a:pPr>
            <a:r>
              <a:rPr lang="en-GB" dirty="0" smtClean="0">
                <a:latin typeface="Zetta Sans" panose="020B0000000000000000" pitchFamily="2" charset="0"/>
                <a:ea typeface="ヒラギノ角ゴ Pro W3" charset="0"/>
                <a:cs typeface="ヒラギノ角ゴ Pro W3" charset="0"/>
              </a:rPr>
              <a:t> Optimising the recycle process in registering 75% of material used in building</a:t>
            </a:r>
          </a:p>
          <a:p>
            <a:endParaRPr lang="en-GB" dirty="0"/>
          </a:p>
        </p:txBody>
      </p:sp>
      <p:sp>
        <p:nvSpPr>
          <p:cNvPr id="4" name="Slide Number Placeholder 3"/>
          <p:cNvSpPr>
            <a:spLocks noGrp="1"/>
          </p:cNvSpPr>
          <p:nvPr>
            <p:ph type="sldNum" sz="quarter" idx="10"/>
          </p:nvPr>
        </p:nvSpPr>
        <p:spPr/>
        <p:txBody>
          <a:bodyPr/>
          <a:lstStyle/>
          <a:p>
            <a:fld id="{FF9FC856-20BB-4456-90D7-D0CE2A2C5B97}"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4092343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nSpc>
                <a:spcPct val="100000"/>
              </a:lnSpc>
            </a:pPr>
            <a:r>
              <a:rPr lang="en-GB" sz="2400" b="0" dirty="0" smtClean="0">
                <a:latin typeface="+mn-lt"/>
              </a:rPr>
              <a:t>Absolute totals of CO2 shown.</a:t>
            </a:r>
          </a:p>
          <a:p>
            <a:pPr marL="0" marR="0" indent="0" algn="l" defTabSz="914400" rtl="0" eaLnBrk="1" fontAlgn="auto" latinLnBrk="0" hangingPunct="1">
              <a:lnSpc>
                <a:spcPct val="100000"/>
              </a:lnSpc>
              <a:spcBef>
                <a:spcPts val="0"/>
              </a:spcBef>
              <a:spcAft>
                <a:spcPts val="0"/>
              </a:spcAft>
              <a:buClrTx/>
              <a:buSzTx/>
              <a:buFontTx/>
              <a:buNone/>
              <a:tabLst/>
              <a:defRPr/>
            </a:pPr>
            <a:r>
              <a:rPr lang="en-US" sz="4800" b="0" dirty="0" smtClean="0">
                <a:latin typeface="+mn-lt"/>
              </a:rPr>
              <a:t>11 </a:t>
            </a:r>
            <a:r>
              <a:rPr lang="en-US" sz="2400" b="0" dirty="0" smtClean="0">
                <a:latin typeface="+mn-lt"/>
              </a:rPr>
              <a:t>million tonnes reduced 2007-2014</a:t>
            </a:r>
          </a:p>
          <a:p>
            <a:pPr>
              <a:lnSpc>
                <a:spcPct val="100000"/>
              </a:lnSpc>
            </a:pPr>
            <a:endParaRPr lang="en-GB" sz="2400" b="0" dirty="0" smtClean="0">
              <a:latin typeface="+mn-lt"/>
            </a:endParaRPr>
          </a:p>
          <a:p>
            <a:pPr>
              <a:lnSpc>
                <a:spcPct val="100000"/>
              </a:lnSpc>
            </a:pPr>
            <a:r>
              <a:rPr lang="en-GB" sz="2400" b="0" dirty="0" smtClean="0">
                <a:latin typeface="+mn-lt"/>
              </a:rPr>
              <a:t>In relative terms:</a:t>
            </a:r>
          </a:p>
          <a:p>
            <a:pPr>
              <a:lnSpc>
                <a:spcPct val="100000"/>
              </a:lnSpc>
            </a:pPr>
            <a:r>
              <a:rPr lang="en-GB" sz="2400" b="0" dirty="0" smtClean="0">
                <a:latin typeface="+mn-lt"/>
              </a:rPr>
              <a:t>8% </a:t>
            </a:r>
            <a:r>
              <a:rPr lang="en-GB" sz="1200" b="0" dirty="0" smtClean="0">
                <a:latin typeface="+mn-lt"/>
              </a:rPr>
              <a:t>per TEU km in 2014 </a:t>
            </a:r>
          </a:p>
          <a:p>
            <a:pPr marL="171450" indent="-171450">
              <a:lnSpc>
                <a:spcPct val="100000"/>
              </a:lnSpc>
              <a:buFont typeface="Arial" panose="020B0604020202020204" pitchFamily="34" charset="0"/>
              <a:buChar char="•"/>
            </a:pPr>
            <a:endParaRPr lang="en-GB" sz="1200" b="0" dirty="0" smtClean="0">
              <a:latin typeface="+mn-lt"/>
            </a:endParaRPr>
          </a:p>
          <a:p>
            <a:pPr>
              <a:lnSpc>
                <a:spcPct val="100000"/>
              </a:lnSpc>
            </a:pPr>
            <a:r>
              <a:rPr lang="en-GB" sz="2400" b="0" dirty="0" smtClean="0">
                <a:latin typeface="+mn-lt"/>
              </a:rPr>
              <a:t>40% </a:t>
            </a:r>
            <a:r>
              <a:rPr lang="en-GB" sz="1200" b="0" dirty="0" smtClean="0">
                <a:latin typeface="+mn-lt"/>
              </a:rPr>
              <a:t>per TEU km  from 2007 to 2014</a:t>
            </a:r>
          </a:p>
          <a:p>
            <a:pPr marL="171450" indent="-171450">
              <a:lnSpc>
                <a:spcPct val="100000"/>
              </a:lnSpc>
              <a:buFont typeface="Arial" panose="020B0604020202020204" pitchFamily="34" charset="0"/>
              <a:buChar char="•"/>
            </a:pPr>
            <a:endParaRPr lang="en-GB" sz="1200" b="0" dirty="0" smtClean="0">
              <a:latin typeface="+mn-lt"/>
            </a:endParaRPr>
          </a:p>
          <a:p>
            <a:pPr>
              <a:lnSpc>
                <a:spcPct val="100000"/>
              </a:lnSpc>
            </a:pPr>
            <a:r>
              <a:rPr lang="en-GB" sz="2400" b="0" dirty="0" smtClean="0">
                <a:latin typeface="+mn-lt"/>
              </a:rPr>
              <a:t>60%</a:t>
            </a:r>
            <a:r>
              <a:rPr lang="en-GB" sz="1200" b="0" dirty="0" smtClean="0">
                <a:latin typeface="+mn-lt"/>
              </a:rPr>
              <a:t> per TEU km by 2020, from 2007</a:t>
            </a:r>
          </a:p>
          <a:p>
            <a:pPr marL="171450" indent="-171450">
              <a:lnSpc>
                <a:spcPct val="100000"/>
              </a:lnSpc>
              <a:buFont typeface="Arial" panose="020B0604020202020204" pitchFamily="34" charset="0"/>
              <a:buChar char="•"/>
            </a:pPr>
            <a:endParaRPr lang="en-US" sz="1200" dirty="0" smtClean="0">
              <a:latin typeface="+mn-lt"/>
            </a:endParaRPr>
          </a:p>
          <a:p>
            <a:endParaRPr lang="en-US" b="1" dirty="0">
              <a:ea typeface="ヒラギノ角ゴ Pro W3" charset="0"/>
              <a:cs typeface="ヒラギノ角ゴ Pro W3" charset="0"/>
            </a:endParaRPr>
          </a:p>
        </p:txBody>
      </p:sp>
      <p:sp>
        <p:nvSpPr>
          <p:cNvPr id="4" name="Slide Number Placeholder 3"/>
          <p:cNvSpPr>
            <a:spLocks noGrp="1"/>
          </p:cNvSpPr>
          <p:nvPr>
            <p:ph type="sldNum" sz="quarter" idx="10"/>
          </p:nvPr>
        </p:nvSpPr>
        <p:spPr/>
        <p:txBody>
          <a:bodyPr/>
          <a:lstStyle/>
          <a:p>
            <a:fld id="{55753C93-6B66-477B-BE83-AD67B36CD858}"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1465033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7"/>
          <p:cNvSpPr>
            <a:spLocks noGrp="1" noChangeArrowheads="1"/>
          </p:cNvSpPr>
          <p:nvPr>
            <p:ph type="sldNum" sz="quarter" idx="5"/>
          </p:nvPr>
        </p:nvSpPr>
        <p:spPr>
          <a:xfrm>
            <a:off x="8341079" y="6696778"/>
            <a:ext cx="742149" cy="138364"/>
          </a:xfrm>
          <a:noFill/>
        </p:spPr>
        <p:txBody>
          <a:bodyPr/>
          <a:lstStyle>
            <a:lvl1pPr defTabSz="983331" eaLnBrk="0" hangingPunct="0">
              <a:defRPr>
                <a:solidFill>
                  <a:schemeClr val="tx1"/>
                </a:solidFill>
                <a:latin typeface="Arial" pitchFamily="34" charset="0"/>
              </a:defRPr>
            </a:lvl1pPr>
            <a:lvl2pPr marL="754424" indent="-290163" defTabSz="983331" eaLnBrk="0" hangingPunct="0">
              <a:defRPr>
                <a:solidFill>
                  <a:schemeClr val="tx1"/>
                </a:solidFill>
                <a:latin typeface="Arial" pitchFamily="34" charset="0"/>
              </a:defRPr>
            </a:lvl2pPr>
            <a:lvl3pPr marL="1160653" indent="-232130" defTabSz="983331" eaLnBrk="0" hangingPunct="0">
              <a:defRPr>
                <a:solidFill>
                  <a:schemeClr val="tx1"/>
                </a:solidFill>
                <a:latin typeface="Arial" pitchFamily="34" charset="0"/>
              </a:defRPr>
            </a:lvl3pPr>
            <a:lvl4pPr marL="1624913" indent="-232130" defTabSz="983331" eaLnBrk="0" hangingPunct="0">
              <a:defRPr>
                <a:solidFill>
                  <a:schemeClr val="tx1"/>
                </a:solidFill>
                <a:latin typeface="Arial" pitchFamily="34" charset="0"/>
              </a:defRPr>
            </a:lvl4pPr>
            <a:lvl5pPr marL="2089174" indent="-232130" defTabSz="983331" eaLnBrk="0" hangingPunct="0">
              <a:defRPr>
                <a:solidFill>
                  <a:schemeClr val="tx1"/>
                </a:solidFill>
                <a:latin typeface="Arial" pitchFamily="34" charset="0"/>
              </a:defRPr>
            </a:lvl5pPr>
            <a:lvl6pPr marL="2553435" indent="-232130" defTabSz="983331" eaLnBrk="0" fontAlgn="base" hangingPunct="0">
              <a:spcBef>
                <a:spcPct val="0"/>
              </a:spcBef>
              <a:spcAft>
                <a:spcPct val="0"/>
              </a:spcAft>
              <a:defRPr>
                <a:solidFill>
                  <a:schemeClr val="tx1"/>
                </a:solidFill>
                <a:latin typeface="Arial" pitchFamily="34" charset="0"/>
              </a:defRPr>
            </a:lvl6pPr>
            <a:lvl7pPr marL="3017696" indent="-232130" defTabSz="983331" eaLnBrk="0" fontAlgn="base" hangingPunct="0">
              <a:spcBef>
                <a:spcPct val="0"/>
              </a:spcBef>
              <a:spcAft>
                <a:spcPct val="0"/>
              </a:spcAft>
              <a:defRPr>
                <a:solidFill>
                  <a:schemeClr val="tx1"/>
                </a:solidFill>
                <a:latin typeface="Arial" pitchFamily="34" charset="0"/>
              </a:defRPr>
            </a:lvl7pPr>
            <a:lvl8pPr marL="3481958" indent="-232130" defTabSz="983331" eaLnBrk="0" fontAlgn="base" hangingPunct="0">
              <a:spcBef>
                <a:spcPct val="0"/>
              </a:spcBef>
              <a:spcAft>
                <a:spcPct val="0"/>
              </a:spcAft>
              <a:defRPr>
                <a:solidFill>
                  <a:schemeClr val="tx1"/>
                </a:solidFill>
                <a:latin typeface="Arial" pitchFamily="34" charset="0"/>
              </a:defRPr>
            </a:lvl8pPr>
            <a:lvl9pPr marL="3946218" indent="-232130" defTabSz="983331" eaLnBrk="0" fontAlgn="base" hangingPunct="0">
              <a:spcBef>
                <a:spcPct val="0"/>
              </a:spcBef>
              <a:spcAft>
                <a:spcPct val="0"/>
              </a:spcAft>
              <a:defRPr>
                <a:solidFill>
                  <a:schemeClr val="tx1"/>
                </a:solidFill>
                <a:latin typeface="Arial" pitchFamily="34" charset="0"/>
              </a:defRPr>
            </a:lvl9pPr>
          </a:lstStyle>
          <a:p>
            <a:pPr eaLnBrk="1" hangingPunct="1"/>
            <a:fld id="{A86F04CC-E332-4AB8-B0E9-8B47C1F9FD06}" type="slidenum">
              <a:rPr lang="en-GB">
                <a:solidFill>
                  <a:srgbClr val="000000"/>
                </a:solidFill>
              </a:rPr>
              <a:pPr eaLnBrk="1" hangingPunct="1"/>
              <a:t>8</a:t>
            </a:fld>
            <a:endParaRPr lang="en-GB" dirty="0">
              <a:solidFill>
                <a:srgbClr val="000000"/>
              </a:solidFill>
            </a:endParaRPr>
          </a:p>
        </p:txBody>
      </p:sp>
      <p:sp>
        <p:nvSpPr>
          <p:cNvPr id="153603" name="Rectangle 2"/>
          <p:cNvSpPr>
            <a:spLocks noGrp="1" noRot="1" noChangeAspect="1" noChangeArrowheads="1" noTextEdit="1"/>
          </p:cNvSpPr>
          <p:nvPr>
            <p:ph type="sldImg"/>
          </p:nvPr>
        </p:nvSpPr>
        <p:spPr>
          <a:xfrm>
            <a:off x="2641600" y="293688"/>
            <a:ext cx="5156200" cy="2900362"/>
          </a:xfrm>
          <a:ln/>
        </p:spPr>
      </p:sp>
      <p:sp>
        <p:nvSpPr>
          <p:cNvPr id="153604" name="Rectangle 3"/>
          <p:cNvSpPr>
            <a:spLocks noGrp="1" noChangeArrowheads="1"/>
          </p:cNvSpPr>
          <p:nvPr>
            <p:ph type="body" idx="1"/>
          </p:nvPr>
        </p:nvSpPr>
        <p:spPr>
          <a:xfrm>
            <a:off x="830863" y="3370046"/>
            <a:ext cx="7789333" cy="3195587"/>
          </a:xfrm>
          <a:noFill/>
        </p:spPr>
        <p:txBody>
          <a:bodyPr/>
          <a:lstStyle/>
          <a:p>
            <a:pPr marL="195054" indent="-195054"/>
            <a:r>
              <a:rPr lang="en-US" sz="1400" dirty="0" smtClean="0">
                <a:solidFill>
                  <a:srgbClr val="000000"/>
                </a:solidFill>
                <a:latin typeface="Arial" pitchFamily="34" charset="0"/>
              </a:rPr>
              <a:t>Energy efficiency </a:t>
            </a:r>
            <a:r>
              <a:rPr lang="en-US" sz="1400" dirty="0" smtClean="0">
                <a:solidFill>
                  <a:srgbClr val="000000"/>
                </a:solidFill>
                <a:latin typeface="Arial" pitchFamily="34" charset="0"/>
                <a:sym typeface="Wingdings" panose="05000000000000000000" pitchFamily="2" charset="2"/>
              </a:rPr>
              <a:t> sustainable</a:t>
            </a:r>
            <a:endParaRPr lang="en-US" sz="1400" dirty="0">
              <a:solidFill>
                <a:srgbClr val="000000"/>
              </a:solidFill>
              <a:latin typeface="Arial" pitchFamily="34" charset="0"/>
            </a:endParaRPr>
          </a:p>
        </p:txBody>
      </p:sp>
    </p:spTree>
    <p:extLst>
      <p:ext uri="{BB962C8B-B14F-4D97-AF65-F5344CB8AC3E}">
        <p14:creationId xmlns:p14="http://schemas.microsoft.com/office/powerpoint/2010/main" val="30086929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93195A88-328F-4D9D-94AE-83FB079BD0B2}" type="slidenum">
              <a:rPr lang="en-US" smtClean="0">
                <a:solidFill>
                  <a:prstClr val="black"/>
                </a:solidFill>
              </a:rPr>
              <a:pPr/>
              <a:t>9</a:t>
            </a:fld>
            <a:endParaRPr lang="en-US" dirty="0" smtClean="0">
              <a:solidFill>
                <a:prstClr val="black"/>
              </a:solidFill>
            </a:endParaRPr>
          </a:p>
        </p:txBody>
      </p:sp>
      <p:sp>
        <p:nvSpPr>
          <p:cNvPr id="23555" name="Rectangle 2"/>
          <p:cNvSpPr>
            <a:spLocks noGrp="1" noRot="1" noChangeAspect="1" noChangeArrowheads="1" noTextEdit="1"/>
          </p:cNvSpPr>
          <p:nvPr>
            <p:ph type="sldImg"/>
          </p:nvPr>
        </p:nvSpPr>
        <p:spPr>
          <a:xfrm>
            <a:off x="2351088" y="523875"/>
            <a:ext cx="4645025" cy="2613025"/>
          </a:xfrm>
          <a:ln/>
        </p:spPr>
      </p:sp>
      <p:sp>
        <p:nvSpPr>
          <p:cNvPr id="23556" name="Rectangle 3"/>
          <p:cNvSpPr>
            <a:spLocks noGrp="1" noChangeArrowheads="1"/>
          </p:cNvSpPr>
          <p:nvPr>
            <p:ph type="body" idx="1"/>
          </p:nvPr>
        </p:nvSpPr>
        <p:spPr>
          <a:xfrm>
            <a:off x="934288" y="3312764"/>
            <a:ext cx="7478633" cy="3136586"/>
          </a:xfrm>
          <a:noFill/>
          <a:ln/>
        </p:spPr>
        <p:txBody>
          <a:bodyPr>
            <a:normAutofit/>
          </a:bodyPr>
          <a:lstStyle/>
          <a:p>
            <a:pPr rtl="0"/>
            <a:r>
              <a:rPr kumimoji="0" lang="en-GB" sz="1800" b="0" i="0" u="none" strike="noStrike" kern="0" cap="none" spc="0" normalizeH="0" baseline="0" noProof="0" dirty="0" smtClean="0">
                <a:ln>
                  <a:noFill/>
                </a:ln>
                <a:solidFill>
                  <a:schemeClr val="bg1"/>
                </a:solidFill>
                <a:effectLst/>
                <a:uLnTx/>
                <a:uFillTx/>
              </a:rPr>
              <a:t>New vessels carry more AND are more efficient</a:t>
            </a:r>
            <a:endParaRPr lang="en-US" sz="1800" dirty="0" smtClean="0">
              <a:hlinkClick r:id="" action="ppaction://hlinkfile"/>
            </a:endParaRPr>
          </a:p>
          <a:p>
            <a:pPr rtl="0"/>
            <a:endParaRPr lang="en-US" sz="1800" dirty="0" smtClean="0">
              <a:hlinkClick r:id="" action="ppaction://hlinkfile"/>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hlinkClick r:id="" action="ppaction://hlinkfile"/>
              </a:rPr>
              <a:t>Our</a:t>
            </a:r>
            <a:r>
              <a:rPr lang="en-US" sz="1800" baseline="0" dirty="0" smtClean="0">
                <a:hlinkClick r:id="" action="ppaction://hlinkfile"/>
              </a:rPr>
              <a:t> Triple E vessels keep setting new records. This photo shows </a:t>
            </a:r>
            <a:r>
              <a:rPr lang="en-US" sz="1800" dirty="0" smtClean="0">
                <a:hlinkClick r:id="" action="ppaction://hlinkfile"/>
              </a:rPr>
              <a:t>Mary Maersk sailing from Algeciras </a:t>
            </a:r>
            <a:r>
              <a:rPr lang="en-US" sz="1800" dirty="0" smtClean="0"/>
              <a:t>Spain </a:t>
            </a:r>
            <a:r>
              <a:rPr lang="en-US" sz="1800" dirty="0" smtClean="0">
                <a:hlinkClick r:id="" action="ppaction://hlinkfile"/>
              </a:rPr>
              <a:t>with 17,603 TEUs</a:t>
            </a:r>
            <a:r>
              <a:rPr lang="en-US" sz="1800" dirty="0" smtClean="0"/>
              <a:t> on its eastward journey, bound for Tanjung Pelepas, Malaysia</a:t>
            </a:r>
          </a:p>
          <a:p>
            <a:pPr rtl="0"/>
            <a:endParaRPr lang="en-US" sz="1800" dirty="0" smtClean="0"/>
          </a:p>
          <a:p>
            <a:pPr rtl="0"/>
            <a:r>
              <a:rPr lang="en-US" sz="1800" baseline="0" dirty="0" smtClean="0"/>
              <a:t>I believe the current record is Maersk McKinney Moller leaving Algeciras Spain 26 JAN 2015 with 18,168 TEU.</a:t>
            </a:r>
          </a:p>
          <a:p>
            <a:pPr rtl="0"/>
            <a:endParaRPr lang="en-US" sz="1800" baseline="0" dirty="0" smtClean="0"/>
          </a:p>
          <a:p>
            <a:pPr rtl="0"/>
            <a:r>
              <a:rPr lang="en-US" sz="1800" b="0" dirty="0" smtClean="0"/>
              <a:t>But it’s not just the biggest or newest ships – it’s having the right ships for the service needs.</a:t>
            </a:r>
            <a:endParaRPr lang="en-US" sz="1800" dirty="0" smtClean="0"/>
          </a:p>
        </p:txBody>
      </p:sp>
    </p:spTree>
    <p:extLst>
      <p:ext uri="{BB962C8B-B14F-4D97-AF65-F5344CB8AC3E}">
        <p14:creationId xmlns:p14="http://schemas.microsoft.com/office/powerpoint/2010/main" val="2643505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slideMaster" Target="../slideMasters/slideMaster10.xml"/><Relationship Id="rId1" Type="http://schemas.openxmlformats.org/officeDocument/2006/relationships/themeOverride" Target="../theme/themeOverride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1.xml"/><Relationship Id="rId1" Type="http://schemas.openxmlformats.org/officeDocument/2006/relationships/themeOverride" Target="../theme/themeOverride3.xml"/><Relationship Id="rId4" Type="http://schemas.openxmlformats.org/officeDocument/2006/relationships/image" Target="../media/image7.w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slideMaster" Target="../slideMasters/slideMaster12.xml"/><Relationship Id="rId1" Type="http://schemas.openxmlformats.org/officeDocument/2006/relationships/themeOverride" Target="../theme/themeOverride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slideMaster" Target="../slideMasters/slideMaster13.xml"/><Relationship Id="rId1" Type="http://schemas.openxmlformats.org/officeDocument/2006/relationships/themeOverride" Target="../theme/themeOverride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d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slideMaster" Target="../slideMasters/slideMaster9.xml"/><Relationship Id="rId1" Type="http://schemas.openxmlformats.org/officeDocument/2006/relationships/themeOverride" Target="../theme/themeOverride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reak title and subtitle">
    <p:spTree>
      <p:nvGrpSpPr>
        <p:cNvPr id="1" name=""/>
        <p:cNvGrpSpPr/>
        <p:nvPr/>
      </p:nvGrpSpPr>
      <p:grpSpPr>
        <a:xfrm>
          <a:off x="0" y="0"/>
          <a:ext cx="0" cy="0"/>
          <a:chOff x="0" y="0"/>
          <a:chExt cx="0" cy="0"/>
        </a:xfrm>
      </p:grpSpPr>
      <p:sp>
        <p:nvSpPr>
          <p:cNvPr id="3" name="Title 1"/>
          <p:cNvSpPr>
            <a:spLocks noGrp="1"/>
          </p:cNvSpPr>
          <p:nvPr>
            <p:ph type="ctrTitle"/>
          </p:nvPr>
        </p:nvSpPr>
        <p:spPr>
          <a:xfrm>
            <a:off x="657600" y="3347661"/>
            <a:ext cx="9374837" cy="1368152"/>
          </a:xfrm>
        </p:spPr>
        <p:txBody>
          <a:bodyPr lIns="90000" tIns="46800" rIns="90000" bIns="46800" anchor="b" anchorCtr="0"/>
          <a:lstStyle>
            <a:lvl1pPr>
              <a:defRPr sz="3800" cap="all" baseline="0">
                <a:solidFill>
                  <a:schemeClr val="bg1"/>
                </a:solidFill>
                <a:latin typeface="+mj-lt"/>
              </a:defRPr>
            </a:lvl1pPr>
          </a:lstStyle>
          <a:p>
            <a:r>
              <a:rPr lang="en-GB" noProof="0" dirty="0" smtClean="0"/>
              <a:t>Click to edit Master title style</a:t>
            </a:r>
            <a:endParaRPr lang="en-GB" noProof="0" dirty="0"/>
          </a:p>
        </p:txBody>
      </p:sp>
      <p:sp>
        <p:nvSpPr>
          <p:cNvPr id="4"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bg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endParaRPr lang="en-GB" noProof="0" dirty="0"/>
          </a:p>
        </p:txBody>
      </p:sp>
    </p:spTree>
    <p:extLst>
      <p:ext uri="{BB962C8B-B14F-4D97-AF65-F5344CB8AC3E}">
        <p14:creationId xmlns:p14="http://schemas.microsoft.com/office/powerpoint/2010/main" val="111268931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unkter med 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7" name="Pladsholder til tekst 6"/>
          <p:cNvSpPr>
            <a:spLocks noGrp="1"/>
          </p:cNvSpPr>
          <p:nvPr>
            <p:ph type="body" sz="quarter" idx="13"/>
          </p:nvPr>
        </p:nvSpPr>
        <p:spPr>
          <a:xfrm>
            <a:off x="766233" y="2085977"/>
            <a:ext cx="7442200" cy="334963"/>
          </a:xfrm>
        </p:spPr>
        <p:txBody>
          <a:bodyPr/>
          <a:lstStyle>
            <a:lvl1pPr marL="0" indent="0">
              <a:buNone/>
              <a:defRPr>
                <a:latin typeface="Zetta Serif Bold"/>
                <a:cs typeface="Zetta Serif Bold"/>
              </a:defRPr>
            </a:lvl1pPr>
          </a:lstStyle>
          <a:p>
            <a:pPr lvl="0"/>
            <a:r>
              <a:rPr lang="da-DK" dirty="0" smtClean="0"/>
              <a:t>Klik for at redigere teksttypografierne i masteren</a:t>
            </a:r>
          </a:p>
        </p:txBody>
      </p:sp>
      <p:sp>
        <p:nvSpPr>
          <p:cNvPr id="8" name="Pladsholder til tekst 6"/>
          <p:cNvSpPr>
            <a:spLocks noGrp="1"/>
          </p:cNvSpPr>
          <p:nvPr>
            <p:ph type="body" sz="quarter" idx="14"/>
          </p:nvPr>
        </p:nvSpPr>
        <p:spPr>
          <a:xfrm>
            <a:off x="766233" y="2420889"/>
            <a:ext cx="7442200" cy="334963"/>
          </a:xfrm>
        </p:spPr>
        <p:txBody>
          <a:bodyPr/>
          <a:lstStyle>
            <a:lvl1pPr marL="0" indent="0">
              <a:buNone/>
              <a:defRPr>
                <a:solidFill>
                  <a:srgbClr val="7AC4DE"/>
                </a:solidFill>
                <a:latin typeface="Zetta Serif Light italic"/>
                <a:cs typeface="Zetta Serif Light italic"/>
              </a:defRPr>
            </a:lvl1pPr>
          </a:lstStyle>
          <a:p>
            <a:pPr lvl="0"/>
            <a:r>
              <a:rPr lang="da-DK" dirty="0" smtClean="0"/>
              <a:t>Klik for at redigere teksttypografierne i masteren</a:t>
            </a:r>
          </a:p>
        </p:txBody>
      </p:sp>
      <p:sp>
        <p:nvSpPr>
          <p:cNvPr id="9" name="Pladsholder til tekst 6"/>
          <p:cNvSpPr>
            <a:spLocks noGrp="1"/>
          </p:cNvSpPr>
          <p:nvPr>
            <p:ph type="body" sz="quarter" idx="15"/>
          </p:nvPr>
        </p:nvSpPr>
        <p:spPr>
          <a:xfrm>
            <a:off x="766235" y="3140968"/>
            <a:ext cx="9362215" cy="1112851"/>
          </a:xfrm>
        </p:spPr>
        <p:txBody>
          <a:bodyPr anchor="b"/>
          <a:lstStyle>
            <a:lvl1pPr marL="0" indent="0">
              <a:buNone/>
              <a:defRPr sz="5100">
                <a:solidFill>
                  <a:schemeClr val="bg1"/>
                </a:solidFill>
                <a:latin typeface="Zetta Serif Light"/>
                <a:cs typeface="Zetta Serif Light"/>
              </a:defRPr>
            </a:lvl1pPr>
          </a:lstStyle>
          <a:p>
            <a:pPr lvl="0"/>
            <a:r>
              <a:rPr lang="da-DK" dirty="0" smtClean="0"/>
              <a:t>Klik for at redigere teksttypografierne i masteren</a:t>
            </a:r>
          </a:p>
        </p:txBody>
      </p:sp>
      <p:sp>
        <p:nvSpPr>
          <p:cNvPr id="11" name="Pladsholder til tekst 10"/>
          <p:cNvSpPr>
            <a:spLocks noGrp="1"/>
          </p:cNvSpPr>
          <p:nvPr>
            <p:ph type="body" sz="quarter" idx="16"/>
          </p:nvPr>
        </p:nvSpPr>
        <p:spPr>
          <a:xfrm>
            <a:off x="766234" y="4365629"/>
            <a:ext cx="9362213" cy="1871663"/>
          </a:xfrm>
        </p:spPr>
        <p:txBody>
          <a:bodyPr/>
          <a:lstStyle>
            <a:lvl1pPr marL="457189" indent="-457189">
              <a:buClr>
                <a:srgbClr val="7AC4DE"/>
              </a:buClr>
              <a:buSzPct val="100000"/>
              <a:buFont typeface="+mj-lt"/>
              <a:buAutoNum type="arabicPeriod"/>
              <a:defRPr/>
            </a:lvl1pPr>
            <a:lvl2pPr marL="734466" indent="-457189">
              <a:buClr>
                <a:srgbClr val="7AC4DE"/>
              </a:buClr>
              <a:buSzPct val="100000"/>
              <a:buFont typeface="+mj-lt"/>
              <a:buAutoNum type="arabicPeriod"/>
              <a:defRPr/>
            </a:lvl2pPr>
            <a:lvl3pPr marL="1020208" indent="-457189">
              <a:buClr>
                <a:srgbClr val="7AC4DE"/>
              </a:buClr>
              <a:buSzPct val="100000"/>
              <a:buFont typeface="+mj-lt"/>
              <a:buAutoNum type="arabicPeriod"/>
              <a:defRPr/>
            </a:lvl3pPr>
            <a:lvl4pPr marL="1314418" indent="-457189">
              <a:buClr>
                <a:srgbClr val="7AC4DE"/>
              </a:buClr>
              <a:buSzPct val="100000"/>
              <a:buFont typeface="+mj-lt"/>
              <a:buAutoNum type="arabicPeriod"/>
              <a:defRPr/>
            </a:lvl4pPr>
            <a:lvl5pPr marL="1600160" indent="-457189">
              <a:buClr>
                <a:srgbClr val="7AC4DE"/>
              </a:buClr>
              <a:buSzPct val="100000"/>
              <a:buFont typeface="+mj-lt"/>
              <a:buAutoNum type="arabicPeriod"/>
              <a:defRPr/>
            </a:lvl5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10" name="Rectangle 6"/>
          <p:cNvSpPr>
            <a:spLocks noGrp="1" noChangeArrowheads="1"/>
          </p:cNvSpPr>
          <p:nvPr>
            <p:ph type="dt" sz="half" idx="17"/>
          </p:nvPr>
        </p:nvSpPr>
        <p:spPr>
          <a:xfrm>
            <a:off x="609600" y="6368400"/>
            <a:ext cx="1166400" cy="365125"/>
          </a:xfrm>
          <a:prstGeom prst="rect">
            <a:avLst/>
          </a:prstGeom>
          <a:ln/>
        </p:spPr>
        <p:txBody>
          <a:bodyPr lIns="121917" tIns="60958" rIns="121917" bIns="60958"/>
          <a:lstStyle>
            <a:lvl1pPr>
              <a:defRPr/>
            </a:lvl1pPr>
          </a:lstStyle>
          <a:p>
            <a:fld id="{C34062EC-5C07-4767-B52F-C093E37CEA5A}" type="datetime1">
              <a:rPr lang="en-GB">
                <a:solidFill>
                  <a:srgbClr val="000000"/>
                </a:solidFill>
              </a:rPr>
              <a:pPr/>
              <a:t>09/12/2016</a:t>
            </a:fld>
            <a:endParaRPr lang="en-GB" dirty="0">
              <a:solidFill>
                <a:srgbClr val="000000"/>
              </a:solidFill>
            </a:endParaRPr>
          </a:p>
        </p:txBody>
      </p:sp>
      <p:sp>
        <p:nvSpPr>
          <p:cNvPr id="12" name="Rectangle 8"/>
          <p:cNvSpPr>
            <a:spLocks noGrp="1" noChangeArrowheads="1"/>
          </p:cNvSpPr>
          <p:nvPr>
            <p:ph type="sldNum" sz="quarter" idx="18"/>
          </p:nvPr>
        </p:nvSpPr>
        <p:spPr>
          <a:xfrm>
            <a:off x="11241600" y="115200"/>
            <a:ext cx="916800" cy="298800"/>
          </a:xfrm>
          <a:prstGeom prst="rect">
            <a:avLst/>
          </a:prstGeom>
          <a:ln/>
        </p:spPr>
        <p:txBody>
          <a:bodyPr lIns="121917" tIns="60958" rIns="121917" bIns="60958"/>
          <a:lstStyle>
            <a:lvl1pPr>
              <a:defRPr/>
            </a:lvl1pPr>
          </a:lstStyle>
          <a:p>
            <a:r>
              <a:rPr lang="en-GB" dirty="0">
                <a:solidFill>
                  <a:srgbClr val="000000"/>
                </a:solidFill>
              </a:rPr>
              <a:t>Slide no. </a:t>
            </a:r>
            <a:fld id="{B21E5947-B445-4948-8A1E-D1CDCE73D4C3}" type="slidenum">
              <a:rPr lang="en-GB">
                <a:solidFill>
                  <a:srgbClr val="000000"/>
                </a:solidFill>
              </a:rPr>
              <a:pPr/>
              <a:t>‹#›</a:t>
            </a:fld>
            <a:endParaRPr lang="en-GB" dirty="0">
              <a:solidFill>
                <a:srgbClr val="000000"/>
              </a:solidFill>
            </a:endParaRPr>
          </a:p>
        </p:txBody>
      </p:sp>
      <p:sp>
        <p:nvSpPr>
          <p:cNvPr id="13" name="Rectangle 11"/>
          <p:cNvSpPr>
            <a:spLocks noGrp="1" noChangeArrowheads="1"/>
          </p:cNvSpPr>
          <p:nvPr>
            <p:ph type="ftr" sz="quarter" idx="19"/>
          </p:nvPr>
        </p:nvSpPr>
        <p:spPr>
          <a:xfrm>
            <a:off x="6187200" y="115200"/>
            <a:ext cx="5011200" cy="298800"/>
          </a:xfrm>
          <a:prstGeom prst="rect">
            <a:avLst/>
          </a:prstGeom>
          <a:ln/>
        </p:spPr>
        <p:txBody>
          <a:bodyPr lIns="121917" tIns="60958" rIns="121917" bIns="60958"/>
          <a:lstStyle>
            <a:lvl1pPr>
              <a:defRPr/>
            </a:lvl1pPr>
          </a:lstStyle>
          <a:p>
            <a:pPr>
              <a:defRPr/>
            </a:pPr>
            <a:r>
              <a:rPr lang="en-GB" dirty="0">
                <a:solidFill>
                  <a:srgbClr val="000000"/>
                </a:solidFill>
              </a:rPr>
              <a:t>Department</a:t>
            </a:r>
          </a:p>
        </p:txBody>
      </p:sp>
    </p:spTree>
    <p:extLst>
      <p:ext uri="{BB962C8B-B14F-4D97-AF65-F5344CB8AC3E}">
        <p14:creationId xmlns:p14="http://schemas.microsoft.com/office/powerpoint/2010/main" val="7093126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11" descr="Line 1_compr"/>
          <p:cNvSpPr>
            <a:spLocks/>
          </p:cNvSpPr>
          <p:nvPr/>
        </p:nvSpPr>
        <p:spPr bwMode="auto">
          <a:xfrm>
            <a:off x="190501" y="1114425"/>
            <a:ext cx="11804651" cy="5181600"/>
          </a:xfrm>
          <a:custGeom>
            <a:avLst/>
            <a:gdLst/>
            <a:ahLst/>
            <a:cxnLst>
              <a:cxn ang="0">
                <a:pos x="13467" y="9795"/>
              </a:cxn>
              <a:cxn ang="0">
                <a:pos x="13467" y="9249"/>
              </a:cxn>
              <a:cxn ang="0">
                <a:pos x="16731" y="9249"/>
              </a:cxn>
              <a:cxn ang="0">
                <a:pos x="16731" y="0"/>
              </a:cxn>
              <a:cxn ang="0">
                <a:pos x="0" y="0"/>
              </a:cxn>
              <a:cxn ang="0">
                <a:pos x="0" y="9800"/>
              </a:cxn>
              <a:cxn ang="0">
                <a:pos x="13467" y="9795"/>
              </a:cxn>
            </a:cxnLst>
            <a:rect l="0" t="0" r="r" b="b"/>
            <a:pathLst>
              <a:path w="16731" h="9800">
                <a:moveTo>
                  <a:pt x="13467" y="9795"/>
                </a:moveTo>
                <a:lnTo>
                  <a:pt x="13467" y="9249"/>
                </a:lnTo>
                <a:lnTo>
                  <a:pt x="16731" y="9249"/>
                </a:lnTo>
                <a:lnTo>
                  <a:pt x="16731" y="0"/>
                </a:lnTo>
                <a:lnTo>
                  <a:pt x="0" y="0"/>
                </a:lnTo>
                <a:lnTo>
                  <a:pt x="0" y="9800"/>
                </a:lnTo>
                <a:lnTo>
                  <a:pt x="13467" y="9795"/>
                </a:lnTo>
                <a:close/>
              </a:path>
            </a:pathLst>
          </a:custGeom>
          <a:blipFill dpi="0" rotWithShape="1">
            <a:blip r:embed="rId2" cstate="print"/>
            <a:srcRect/>
            <a:stretch>
              <a:fillRect/>
            </a:stretch>
          </a:blipFill>
          <a:ln w="9525">
            <a:noFill/>
            <a:round/>
            <a:headEnd/>
            <a:tailEnd/>
          </a:ln>
        </p:spPr>
        <p:txBody>
          <a:bodyPr lIns="91432" tIns="45717" rIns="91432" bIns="45717"/>
          <a:lstStyle/>
          <a:p>
            <a:pPr defTabSz="914323" fontAlgn="base">
              <a:lnSpc>
                <a:spcPct val="107000"/>
              </a:lnSpc>
              <a:spcBef>
                <a:spcPct val="0"/>
              </a:spcBef>
              <a:spcAft>
                <a:spcPct val="0"/>
              </a:spcAft>
              <a:defRPr/>
            </a:pPr>
            <a:endParaRPr lang="en-GB" sz="1400" dirty="0">
              <a:solidFill>
                <a:prstClr val="black"/>
              </a:solidFill>
            </a:endParaRPr>
          </a:p>
        </p:txBody>
      </p:sp>
      <p:sp>
        <p:nvSpPr>
          <p:cNvPr id="5" name="Rectangle 4"/>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pic>
        <p:nvPicPr>
          <p:cNvPr id="6" name="Picture 10" descr="Maersk_Line_Hvid baggrund"/>
          <p:cNvPicPr>
            <a:picLocks noChangeAspect="1" noChangeArrowheads="1"/>
          </p:cNvPicPr>
          <p:nvPr/>
        </p:nvPicPr>
        <p:blipFill>
          <a:blip r:embed="rId3" cstate="print"/>
          <a:srcRect/>
          <a:stretch>
            <a:fillRect/>
          </a:stretch>
        </p:blipFill>
        <p:spPr bwMode="auto">
          <a:xfrm>
            <a:off x="9698569" y="6013451"/>
            <a:ext cx="2493433" cy="844550"/>
          </a:xfrm>
          <a:prstGeom prst="rect">
            <a:avLst/>
          </a:prstGeom>
          <a:noFill/>
          <a:ln w="9525">
            <a:noFill/>
            <a:miter lim="800000"/>
            <a:headEnd/>
            <a:tailEnd/>
          </a:ln>
        </p:spPr>
      </p:pic>
      <p:sp>
        <p:nvSpPr>
          <p:cNvPr id="30723" name="Rectangle 3"/>
          <p:cNvSpPr>
            <a:spLocks noGrp="1" noChangeArrowheads="1"/>
          </p:cNvSpPr>
          <p:nvPr>
            <p:ph type="ctrTitle"/>
          </p:nvPr>
        </p:nvSpPr>
        <p:spPr>
          <a:xfrm>
            <a:off x="192621" y="1114429"/>
            <a:ext cx="11804649" cy="2079625"/>
          </a:xfrm>
          <a:solidFill>
            <a:schemeClr val="bg2">
              <a:alpha val="75000"/>
            </a:schemeClr>
          </a:solidFill>
        </p:spPr>
        <p:txBody>
          <a:bodyPr lIns="431963" tIns="143988" rIns="431963" bIns="143988"/>
          <a:lstStyle>
            <a:lvl1pPr>
              <a:lnSpc>
                <a:spcPct val="92000"/>
              </a:lnSpc>
              <a:defRPr sz="3200">
                <a:solidFill>
                  <a:schemeClr val="bg1"/>
                </a:solidFill>
              </a:defRPr>
            </a:lvl1pPr>
          </a:lstStyle>
          <a:p>
            <a:r>
              <a:rPr lang="en-GB"/>
              <a:t>Text</a:t>
            </a:r>
          </a:p>
        </p:txBody>
      </p:sp>
      <p:sp>
        <p:nvSpPr>
          <p:cNvPr id="30725" name="Rectangle 5"/>
          <p:cNvSpPr>
            <a:spLocks noGrp="1" noChangeArrowheads="1"/>
          </p:cNvSpPr>
          <p:nvPr>
            <p:ph type="subTitle" idx="1"/>
          </p:nvPr>
        </p:nvSpPr>
        <p:spPr>
          <a:xfrm>
            <a:off x="190501" y="287342"/>
            <a:ext cx="11804651" cy="827087"/>
          </a:xfrm>
          <a:solidFill>
            <a:schemeClr val="bg1"/>
          </a:solidFill>
        </p:spPr>
        <p:txBody>
          <a:bodyPr lIns="431963" tIns="143988" rIns="431963" bIns="143988"/>
          <a:lstStyle>
            <a:lvl1pPr marL="0" indent="0">
              <a:spcBef>
                <a:spcPct val="0"/>
              </a:spcBef>
              <a:buFontTx/>
              <a:buNone/>
              <a:defRPr sz="1000"/>
            </a:lvl1pPr>
          </a:lstStyle>
          <a:p>
            <a:r>
              <a:rPr lang="en-GB"/>
              <a:t>Text</a:t>
            </a:r>
          </a:p>
        </p:txBody>
      </p:sp>
    </p:spTree>
    <p:extLst>
      <p:ext uri="{BB962C8B-B14F-4D97-AF65-F5344CB8AC3E}">
        <p14:creationId xmlns:p14="http://schemas.microsoft.com/office/powerpoint/2010/main" val="3276809579"/>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8"/>
          <p:cNvSpPr>
            <a:spLocks noGrp="1" noChangeArrowheads="1"/>
          </p:cNvSpPr>
          <p:nvPr>
            <p:ph type="sldNum" sz="quarter" idx="11"/>
          </p:nvPr>
        </p:nvSpPr>
        <p:spPr>
          <a:xfrm>
            <a:off x="795868" y="6548442"/>
            <a:ext cx="728133" cy="179387"/>
          </a:xfrm>
          <a:ln/>
        </p:spPr>
        <p:txBody>
          <a:bodyPr/>
          <a:lstStyle>
            <a:lvl1pPr>
              <a:defRPr/>
            </a:lvl1pPr>
          </a:lstStyle>
          <a:p>
            <a:pPr>
              <a:defRPr/>
            </a:pPr>
            <a:fld id="{04F90D04-9D52-4E5A-AD11-0152D3003DA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895809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7"/>
            <a:ext cx="10363200" cy="1500187"/>
          </a:xfrm>
        </p:spPr>
        <p:txBody>
          <a:bodyPr anchor="b"/>
          <a:lstStyle>
            <a:lvl1pPr marL="0" indent="0">
              <a:buNone/>
              <a:defRPr sz="2000"/>
            </a:lvl1pPr>
            <a:lvl2pPr marL="457162" indent="0">
              <a:buNone/>
              <a:defRPr sz="1800"/>
            </a:lvl2pPr>
            <a:lvl3pPr marL="914323" indent="0">
              <a:buNone/>
              <a:defRPr sz="1600"/>
            </a:lvl3pPr>
            <a:lvl4pPr marL="1371485" indent="0">
              <a:buNone/>
              <a:defRPr sz="1400"/>
            </a:lvl4pPr>
            <a:lvl5pPr marL="1828646" indent="0">
              <a:buNone/>
              <a:defRPr sz="1400"/>
            </a:lvl5pPr>
            <a:lvl6pPr marL="2285807" indent="0">
              <a:buNone/>
              <a:defRPr sz="1400"/>
            </a:lvl6pPr>
            <a:lvl7pPr marL="2742969" indent="0">
              <a:buNone/>
              <a:defRPr sz="1400"/>
            </a:lvl7pPr>
            <a:lvl8pPr marL="3200131" indent="0">
              <a:buNone/>
              <a:defRPr sz="1400"/>
            </a:lvl8pPr>
            <a:lvl9pPr marL="3657292" indent="0">
              <a:buNone/>
              <a:defRPr sz="1400"/>
            </a:lvl9pPr>
          </a:lstStyle>
          <a:p>
            <a:pPr lvl="0"/>
            <a:r>
              <a:rPr lang="en-US" smtClean="0"/>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1016000" y="6548442"/>
            <a:ext cx="1439333" cy="179387"/>
          </a:xfrm>
          <a:ln/>
        </p:spPr>
        <p:txBody>
          <a:bodyPr/>
          <a:lstStyle>
            <a:lvl1pPr>
              <a:defRPr/>
            </a:lvl1pPr>
          </a:lstStyle>
          <a:p>
            <a:pPr>
              <a:defRPr/>
            </a:pPr>
            <a:fld id="{6EBB85A0-89DB-4511-9056-62F16E9C49DA}"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4478547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766235" y="2085975"/>
            <a:ext cx="5223933"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93368" y="2085975"/>
            <a:ext cx="5226051"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8DF5B4DA-382C-45B6-90A4-FE737DDAF4DF}"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1723251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3" y="1535114"/>
            <a:ext cx="5386917"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70" y="1535114"/>
            <a:ext cx="5389033"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8"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04222A2A-2BB7-402B-BFB2-0C6290F7AD5D}" type="slidenum">
              <a:rPr lang="en-GB">
                <a:solidFill>
                  <a:prstClr val="black"/>
                </a:solidFill>
              </a:rPr>
              <a:pPr>
                <a:defRPr/>
              </a:pPr>
              <a:t>‹#›</a:t>
            </a:fld>
            <a:endParaRPr lang="en-GB" dirty="0">
              <a:solidFill>
                <a:prstClr val="black"/>
              </a:solidFill>
            </a:endParaRPr>
          </a:p>
        </p:txBody>
      </p:sp>
      <p:sp>
        <p:nvSpPr>
          <p:cNvPr id="9"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92177493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4"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4B2DB91A-6E11-4993-A18E-DD7302448E9D}" type="slidenum">
              <a:rPr lang="en-GB">
                <a:solidFill>
                  <a:prstClr val="black"/>
                </a:solidFill>
              </a:rPr>
              <a:pPr>
                <a:defRPr/>
              </a:pPr>
              <a:t>‹#›</a:t>
            </a:fld>
            <a:endParaRPr lang="en-GB" dirty="0">
              <a:solidFill>
                <a:prstClr val="black"/>
              </a:solidFill>
            </a:endParaRPr>
          </a:p>
        </p:txBody>
      </p:sp>
      <p:sp>
        <p:nvSpPr>
          <p:cNvPr id="5"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14229475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3"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F3107162-A752-4975-BA70-13144D023A41}" type="slidenum">
              <a:rPr lang="en-GB">
                <a:solidFill>
                  <a:prstClr val="black"/>
                </a:solidFill>
              </a:rPr>
              <a:pPr>
                <a:defRPr/>
              </a:pPr>
              <a:t>‹#›</a:t>
            </a:fld>
            <a:endParaRPr lang="en-GB" dirty="0">
              <a:solidFill>
                <a:prstClr val="black"/>
              </a:solidFill>
            </a:endParaRPr>
          </a:p>
        </p:txBody>
      </p:sp>
      <p:sp>
        <p:nvSpPr>
          <p:cNvPr id="4"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13792148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609600" y="6548442"/>
            <a:ext cx="1439333" cy="179387"/>
          </a:xfrm>
          <a:ln/>
        </p:spPr>
        <p:txBody>
          <a:bodyPr/>
          <a:lstStyle>
            <a:lvl1pPr>
              <a:defRPr/>
            </a:lvl1pPr>
          </a:lstStyle>
          <a:p>
            <a:pPr>
              <a:defRPr/>
            </a:pPr>
            <a:fld id="{6EEF1CB4-CB75-48A9-A5D7-0BCD2FBD806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42318328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62" indent="0">
              <a:buNone/>
              <a:defRPr sz="2800"/>
            </a:lvl2pPr>
            <a:lvl3pPr marL="914323" indent="0">
              <a:buNone/>
              <a:defRPr sz="2400"/>
            </a:lvl3pPr>
            <a:lvl4pPr marL="1371485" indent="0">
              <a:buNone/>
              <a:defRPr sz="2000"/>
            </a:lvl4pPr>
            <a:lvl5pPr marL="1828646" indent="0">
              <a:buNone/>
              <a:defRPr sz="2000"/>
            </a:lvl5pPr>
            <a:lvl6pPr marL="2285807" indent="0">
              <a:buNone/>
              <a:defRPr sz="2000"/>
            </a:lvl6pPr>
            <a:lvl7pPr marL="2742969" indent="0">
              <a:buNone/>
              <a:defRPr sz="2000"/>
            </a:lvl7pPr>
            <a:lvl8pPr marL="3200131" indent="0">
              <a:buNone/>
              <a:defRPr sz="2000"/>
            </a:lvl8pPr>
            <a:lvl9pPr marL="3657292" indent="0">
              <a:buNone/>
              <a:defRPr sz="2000"/>
            </a:lvl9pPr>
          </a:lstStyle>
          <a:p>
            <a:pPr lvl="0"/>
            <a:endParaRPr lang="en-GB"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5214A8E4-9391-410C-8C2E-7D2391239A4C}" type="slidenum">
              <a:rPr lang="en-GB">
                <a:solidFill>
                  <a:prstClr val="black"/>
                </a:solidFill>
              </a:rPr>
              <a:pPr>
                <a:defRPr/>
              </a:pPr>
              <a:t>‹#›</a:t>
            </a:fld>
            <a:endParaRPr lang="en-GB" dirty="0">
              <a:solidFill>
                <a:prstClr val="black"/>
              </a:solidFill>
            </a:endParaRPr>
          </a:p>
        </p:txBody>
      </p:sp>
      <p:sp>
        <p:nvSpPr>
          <p:cNvPr id="7"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154025629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B1CA94DF-50B3-4B99-A764-FFB74B340EF4}"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347126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reak title and subtitle">
    <p:spTree>
      <p:nvGrpSpPr>
        <p:cNvPr id="1" name=""/>
        <p:cNvGrpSpPr/>
        <p:nvPr/>
      </p:nvGrpSpPr>
      <p:grpSpPr>
        <a:xfrm>
          <a:off x="0" y="0"/>
          <a:ext cx="0" cy="0"/>
          <a:chOff x="0" y="0"/>
          <a:chExt cx="0" cy="0"/>
        </a:xfrm>
      </p:grpSpPr>
      <p:sp>
        <p:nvSpPr>
          <p:cNvPr id="3" name="Title 1"/>
          <p:cNvSpPr>
            <a:spLocks noGrp="1"/>
          </p:cNvSpPr>
          <p:nvPr>
            <p:ph type="ctrTitle"/>
          </p:nvPr>
        </p:nvSpPr>
        <p:spPr>
          <a:xfrm>
            <a:off x="657600" y="3347660"/>
            <a:ext cx="6047999" cy="1376739"/>
          </a:xfrm>
        </p:spPr>
        <p:txBody>
          <a:bodyPr lIns="90000" tIns="46800" rIns="90000" bIns="46800" anchor="b" anchorCtr="0"/>
          <a:lstStyle>
            <a:lvl1pPr>
              <a:lnSpc>
                <a:spcPct val="70000"/>
              </a:lnSpc>
              <a:defRPr sz="3800" cap="all" baseline="0">
                <a:solidFill>
                  <a:schemeClr val="bg1"/>
                </a:solidFill>
                <a:latin typeface="Zetta Serif Poster" panose="02060503060000020004" pitchFamily="18" charset="0"/>
              </a:defRPr>
            </a:lvl1pPr>
          </a:lstStyle>
          <a:p>
            <a:r>
              <a:rPr lang="en-US" noProof="0" dirty="0" smtClean="0"/>
              <a:t>Click to edit Master title style</a:t>
            </a:r>
            <a:endParaRPr lang="en-GB" noProof="0" dirty="0"/>
          </a:p>
        </p:txBody>
      </p:sp>
      <p:sp>
        <p:nvSpPr>
          <p:cNvPr id="4"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bg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GB" noProof="0" dirty="0"/>
          </a:p>
        </p:txBody>
      </p:sp>
    </p:spTree>
    <p:extLst>
      <p:ext uri="{BB962C8B-B14F-4D97-AF65-F5344CB8AC3E}">
        <p14:creationId xmlns:p14="http://schemas.microsoft.com/office/powerpoint/2010/main" val="261860147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653" y="287342"/>
            <a:ext cx="2662767" cy="55768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766237" y="287342"/>
            <a:ext cx="7787217" cy="55768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383C5D11-C660-4228-9487-EA86CDCD4C3A}" type="slidenum">
              <a:rPr lang="en-GB">
                <a:solidFill>
                  <a:prstClr val="black"/>
                </a:solidFill>
              </a:rPr>
              <a:pPr>
                <a:defRPr/>
              </a:pPr>
              <a:t>‹#›</a:t>
            </a:fld>
            <a:endParaRPr lang="en-GB" dirty="0">
              <a:solidFill>
                <a:prstClr val="black"/>
              </a:solidFill>
            </a:endParaRPr>
          </a:p>
        </p:txBody>
      </p:sp>
      <p:sp>
        <p:nvSpPr>
          <p:cNvPr id="6"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64034297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Rectangle 4"/>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a:defRPr/>
            </a:pPr>
            <a:endParaRPr lang="en-GB" sz="1800" dirty="0">
              <a:solidFill>
                <a:srgbClr val="000000"/>
              </a:solidFill>
            </a:endParaRPr>
          </a:p>
        </p:txBody>
      </p:sp>
      <p:pic>
        <p:nvPicPr>
          <p:cNvPr id="3" name="Picture 10" descr="Maersk_Line_Hvid baggrund"/>
          <p:cNvPicPr>
            <a:picLocks noChangeAspect="1" noChangeArrowheads="1"/>
          </p:cNvPicPr>
          <p:nvPr/>
        </p:nvPicPr>
        <p:blipFill>
          <a:blip r:embed="rId3" cstate="print"/>
          <a:srcRect t="9023"/>
          <a:stretch>
            <a:fillRect/>
          </a:stretch>
        </p:blipFill>
        <p:spPr bwMode="auto">
          <a:xfrm>
            <a:off x="9698568" y="6089650"/>
            <a:ext cx="2493433" cy="768350"/>
          </a:xfrm>
          <a:prstGeom prst="rect">
            <a:avLst/>
          </a:prstGeom>
          <a:noFill/>
          <a:ln w="9525">
            <a:noFill/>
            <a:miter lim="800000"/>
            <a:headEnd/>
            <a:tailEnd/>
          </a:ln>
        </p:spPr>
      </p:pic>
      <p:sp>
        <p:nvSpPr>
          <p:cNvPr id="4" name="Rectangle 14"/>
          <p:cNvSpPr>
            <a:spLocks noGrp="1" noChangeArrowheads="1"/>
          </p:cNvSpPr>
          <p:nvPr>
            <p:ph type="ftr" sz="quarter" idx="10"/>
          </p:nvPr>
        </p:nvSpPr>
        <p:spPr>
          <a:xfrm>
            <a:off x="4165600" y="6356351"/>
            <a:ext cx="3860800" cy="365125"/>
          </a:xfrm>
          <a:prstGeom prst="rect">
            <a:avLst/>
          </a:prstGeom>
        </p:spPr>
        <p:txBody>
          <a:bodyPr/>
          <a:lstStyle>
            <a:lvl1pPr>
              <a:defRPr/>
            </a:lvl1pPr>
          </a:lstStyle>
          <a:p>
            <a:pPr>
              <a:defRPr/>
            </a:pPr>
            <a:r>
              <a:rPr lang="en-GB" dirty="0">
                <a:solidFill>
                  <a:srgbClr val="000000">
                    <a:tint val="75000"/>
                  </a:srgbClr>
                </a:solidFill>
              </a:rPr>
              <a:t>Maersk Line Sustainability</a:t>
            </a:r>
          </a:p>
        </p:txBody>
      </p:sp>
    </p:spTree>
    <p:extLst>
      <p:ext uri="{BB962C8B-B14F-4D97-AF65-F5344CB8AC3E}">
        <p14:creationId xmlns:p14="http://schemas.microsoft.com/office/powerpoint/2010/main" val="2680651537"/>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38"/>
            <a:ext cx="10653184" cy="15128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66234" y="2085975"/>
            <a:ext cx="5223933"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3367" y="2085975"/>
            <a:ext cx="5226051"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dt" sz="half" idx="10"/>
          </p:nvPr>
        </p:nvSpPr>
        <p:spPr>
          <a:ln/>
        </p:spPr>
        <p:txBody>
          <a:bodyPr/>
          <a:lstStyle>
            <a:lvl1pPr>
              <a:defRPr/>
            </a:lvl1pPr>
          </a:lstStyle>
          <a:p>
            <a:pPr>
              <a:defRPr/>
            </a:pPr>
            <a:endParaRPr lang="en-GB" dirty="0">
              <a:solidFill>
                <a:prstClr val="black"/>
              </a:solidFill>
            </a:endParaRPr>
          </a:p>
        </p:txBody>
      </p:sp>
      <p:sp>
        <p:nvSpPr>
          <p:cNvPr id="6" name="Rectangle 10"/>
          <p:cNvSpPr>
            <a:spLocks noGrp="1" noChangeArrowheads="1"/>
          </p:cNvSpPr>
          <p:nvPr>
            <p:ph type="ftr" sz="quarter" idx="11"/>
          </p:nvPr>
        </p:nvSpPr>
        <p:spPr>
          <a:xfrm>
            <a:off x="766236" y="6548441"/>
            <a:ext cx="2161119" cy="179387"/>
          </a:xfrm>
          <a:prstGeom prst="rect">
            <a:avLst/>
          </a:prstGeom>
          <a:ln/>
        </p:spPr>
        <p:txBody>
          <a:bodyPr/>
          <a:lstStyle>
            <a:lvl1pPr>
              <a:defRPr/>
            </a:lvl1pPr>
          </a:lstStyle>
          <a:p>
            <a:pPr>
              <a:defRPr/>
            </a:pPr>
            <a:r>
              <a:rPr lang="en-GB" dirty="0" smtClean="0">
                <a:solidFill>
                  <a:prstClr val="black"/>
                </a:solidFill>
              </a:rPr>
              <a:t>LOC Staff 4/2013</a:t>
            </a:r>
            <a:endParaRPr lang="en-GB" dirty="0">
              <a:solidFill>
                <a:prstClr val="black"/>
              </a:solidFill>
            </a:endParaRPr>
          </a:p>
        </p:txBody>
      </p:sp>
    </p:spTree>
    <p:extLst>
      <p:ext uri="{BB962C8B-B14F-4D97-AF65-F5344CB8AC3E}">
        <p14:creationId xmlns:p14="http://schemas.microsoft.com/office/powerpoint/2010/main" val="154833515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fld id="{D24B618C-AAD6-4108-9FB1-671D1F076F26}" type="datetime1">
              <a:rPr lang="en-GB" smtClean="0">
                <a:solidFill>
                  <a:prstClr val="black"/>
                </a:solidFill>
              </a:rPr>
              <a:pPr/>
              <a:t>09/12/2016</a:t>
            </a:fld>
            <a:endParaRPr lang="en-GB" dirty="0">
              <a:solidFill>
                <a:prstClr val="black"/>
              </a:solidFill>
            </a:endParaRPr>
          </a:p>
        </p:txBody>
      </p:sp>
      <p:sp>
        <p:nvSpPr>
          <p:cNvPr id="4" name="Footer Placeholder 3"/>
          <p:cNvSpPr>
            <a:spLocks noGrp="1"/>
          </p:cNvSpPr>
          <p:nvPr>
            <p:ph type="ftr" sz="quarter" idx="11"/>
          </p:nvPr>
        </p:nvSpPr>
        <p:spPr>
          <a:xfrm>
            <a:off x="6187200" y="115200"/>
            <a:ext cx="5011200" cy="298800"/>
          </a:xfrm>
          <a:prstGeom prst="rect">
            <a:avLst/>
          </a:prstGeom>
        </p:spPr>
        <p:txBody>
          <a:bodyPr/>
          <a:lstStyle/>
          <a:p>
            <a:r>
              <a:rPr lang="en-GB" dirty="0" smtClean="0">
                <a:solidFill>
                  <a:prstClr val="black"/>
                </a:solidFill>
              </a:rPr>
              <a:t>Title of presentation |</a:t>
            </a:r>
            <a:endParaRPr lang="en-GB" dirty="0">
              <a:solidFill>
                <a:prstClr val="black"/>
              </a:solidFill>
            </a:endParaRPr>
          </a:p>
        </p:txBody>
      </p:sp>
      <p:sp>
        <p:nvSpPr>
          <p:cNvPr id="5" name="Slide Number Placeholder 4"/>
          <p:cNvSpPr>
            <a:spLocks noGrp="1"/>
          </p:cNvSpPr>
          <p:nvPr>
            <p:ph type="sldNum" sz="quarter" idx="12"/>
          </p:nvPr>
        </p:nvSpPr>
        <p:spPr/>
        <p:txBody>
          <a:bodyPr/>
          <a:lstStyle/>
          <a:p>
            <a:r>
              <a:rPr lang="en-GB" dirty="0" smtClean="0">
                <a:solidFill>
                  <a:prstClr val="black"/>
                </a:solidFill>
              </a:rPr>
              <a:t>page </a:t>
            </a:r>
            <a:fld id="{161BE2EA-AEDB-4948-88E1-594E5C4BF481}" type="slidenum">
              <a:rPr lang="en-GB" smtClean="0">
                <a:solidFill>
                  <a:prstClr val="black"/>
                </a:solidFill>
              </a:rPr>
              <a:pPr/>
              <a:t>‹#›</a:t>
            </a:fld>
            <a:endParaRPr lang="en-GB" dirty="0">
              <a:solidFill>
                <a:prstClr val="black"/>
              </a:solidFill>
            </a:endParaRPr>
          </a:p>
        </p:txBody>
      </p:sp>
      <p:sp>
        <p:nvSpPr>
          <p:cNvPr id="7" name="Content Placeholder 6"/>
          <p:cNvSpPr>
            <a:spLocks noGrp="1"/>
          </p:cNvSpPr>
          <p:nvPr>
            <p:ph sz="quarter" idx="13"/>
          </p:nvPr>
        </p:nvSpPr>
        <p:spPr>
          <a:xfrm>
            <a:off x="613832" y="1516064"/>
            <a:ext cx="9422400" cy="458152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5240476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322" y="274742"/>
            <a:ext cx="10973357" cy="1142499"/>
          </a:xfrm>
          <a:prstGeom prst="rect">
            <a:avLst/>
          </a:prstGeom>
        </p:spPr>
        <p:txBody>
          <a:bodyPr lIns="82954" tIns="41477" rIns="82954" bIns="41477"/>
          <a:lstStyle/>
          <a:p>
            <a:r>
              <a:rPr lang="en-US" smtClean="0"/>
              <a:t>Click to edit Master title style</a:t>
            </a:r>
            <a:endParaRPr lang="en-US"/>
          </a:p>
        </p:txBody>
      </p:sp>
      <p:sp>
        <p:nvSpPr>
          <p:cNvPr id="3" name="Table Placeholder 2"/>
          <p:cNvSpPr>
            <a:spLocks noGrp="1"/>
          </p:cNvSpPr>
          <p:nvPr>
            <p:ph type="tbl" idx="1"/>
          </p:nvPr>
        </p:nvSpPr>
        <p:spPr>
          <a:xfrm>
            <a:off x="609322" y="1600400"/>
            <a:ext cx="10973357" cy="4526461"/>
          </a:xfrm>
          <a:prstGeom prst="rect">
            <a:avLst/>
          </a:prstGeom>
        </p:spPr>
        <p:txBody>
          <a:bodyPr lIns="82954" tIns="41477" rIns="82954" bIns="41477"/>
          <a:lstStyle/>
          <a:p>
            <a:endParaRPr lang="en-US" dirty="0"/>
          </a:p>
        </p:txBody>
      </p:sp>
    </p:spTree>
    <p:extLst>
      <p:ext uri="{BB962C8B-B14F-4D97-AF65-F5344CB8AC3E}">
        <p14:creationId xmlns:p14="http://schemas.microsoft.com/office/powerpoint/2010/main" val="27398857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11" descr="Line 1_compr"/>
          <p:cNvSpPr>
            <a:spLocks/>
          </p:cNvSpPr>
          <p:nvPr/>
        </p:nvSpPr>
        <p:spPr bwMode="auto">
          <a:xfrm>
            <a:off x="190500" y="1114425"/>
            <a:ext cx="11804651" cy="5181600"/>
          </a:xfrm>
          <a:custGeom>
            <a:avLst/>
            <a:gdLst/>
            <a:ahLst/>
            <a:cxnLst>
              <a:cxn ang="0">
                <a:pos x="13467" y="9795"/>
              </a:cxn>
              <a:cxn ang="0">
                <a:pos x="13467" y="9249"/>
              </a:cxn>
              <a:cxn ang="0">
                <a:pos x="16731" y="9249"/>
              </a:cxn>
              <a:cxn ang="0">
                <a:pos x="16731" y="0"/>
              </a:cxn>
              <a:cxn ang="0">
                <a:pos x="0" y="0"/>
              </a:cxn>
              <a:cxn ang="0">
                <a:pos x="0" y="9800"/>
              </a:cxn>
              <a:cxn ang="0">
                <a:pos x="13467" y="9795"/>
              </a:cxn>
            </a:cxnLst>
            <a:rect l="0" t="0" r="r" b="b"/>
            <a:pathLst>
              <a:path w="16731" h="9800">
                <a:moveTo>
                  <a:pt x="13467" y="9795"/>
                </a:moveTo>
                <a:lnTo>
                  <a:pt x="13467" y="9249"/>
                </a:lnTo>
                <a:lnTo>
                  <a:pt x="16731" y="9249"/>
                </a:lnTo>
                <a:lnTo>
                  <a:pt x="16731" y="0"/>
                </a:lnTo>
                <a:lnTo>
                  <a:pt x="0" y="0"/>
                </a:lnTo>
                <a:lnTo>
                  <a:pt x="0" y="9800"/>
                </a:lnTo>
                <a:lnTo>
                  <a:pt x="13467" y="9795"/>
                </a:lnTo>
                <a:close/>
              </a:path>
            </a:pathLst>
          </a:custGeom>
          <a:blipFill dpi="0" rotWithShape="1">
            <a:blip r:embed="rId3" cstate="print"/>
            <a:srcRect/>
            <a:stretch>
              <a:fillRect/>
            </a:stretch>
          </a:blipFill>
          <a:ln w="9525">
            <a:noFill/>
            <a:round/>
            <a:headEnd/>
            <a:tailEnd/>
          </a:ln>
        </p:spPr>
        <p:txBody>
          <a:bodyPr/>
          <a:lstStyle/>
          <a:p>
            <a:pPr fontAlgn="base">
              <a:lnSpc>
                <a:spcPct val="107000"/>
              </a:lnSpc>
              <a:spcBef>
                <a:spcPct val="0"/>
              </a:spcBef>
              <a:spcAft>
                <a:spcPct val="0"/>
              </a:spcAft>
              <a:defRPr/>
            </a:pPr>
            <a:endParaRPr lang="da-DK" sz="1400" dirty="0">
              <a:solidFill>
                <a:srgbClr val="000000"/>
              </a:solidFill>
            </a:endParaRPr>
          </a:p>
        </p:txBody>
      </p:sp>
      <p:sp>
        <p:nvSpPr>
          <p:cNvPr id="5" name="Rectangle 4"/>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anchor="ctr"/>
          <a:lstStyle/>
          <a:p>
            <a:pPr fontAlgn="base">
              <a:lnSpc>
                <a:spcPct val="107000"/>
              </a:lnSpc>
              <a:spcBef>
                <a:spcPct val="0"/>
              </a:spcBef>
              <a:spcAft>
                <a:spcPct val="0"/>
              </a:spcAft>
              <a:defRPr/>
            </a:pPr>
            <a:endParaRPr lang="da-DK" sz="1400" dirty="0">
              <a:solidFill>
                <a:srgbClr val="000000"/>
              </a:solidFill>
            </a:endParaRPr>
          </a:p>
        </p:txBody>
      </p:sp>
      <p:pic>
        <p:nvPicPr>
          <p:cNvPr id="6" name="Picture 14" descr="Maersk_Line_Hvid baggrund"/>
          <p:cNvPicPr>
            <a:picLocks noChangeAspect="1" noChangeArrowheads="1"/>
          </p:cNvPicPr>
          <p:nvPr userDrawn="1"/>
        </p:nvPicPr>
        <p:blipFill>
          <a:blip r:embed="rId4" cstate="print"/>
          <a:srcRect/>
          <a:stretch>
            <a:fillRect/>
          </a:stretch>
        </p:blipFill>
        <p:spPr bwMode="auto">
          <a:xfrm>
            <a:off x="9698568" y="6013450"/>
            <a:ext cx="2493433" cy="844550"/>
          </a:xfrm>
          <a:prstGeom prst="rect">
            <a:avLst/>
          </a:prstGeom>
          <a:noFill/>
          <a:ln w="9525">
            <a:noFill/>
            <a:miter lim="800000"/>
            <a:headEnd/>
            <a:tailEnd/>
          </a:ln>
        </p:spPr>
      </p:pic>
      <p:sp>
        <p:nvSpPr>
          <p:cNvPr id="30723" name="Rectangle 3"/>
          <p:cNvSpPr>
            <a:spLocks noGrp="1" noChangeArrowheads="1"/>
          </p:cNvSpPr>
          <p:nvPr>
            <p:ph type="ctrTitle"/>
          </p:nvPr>
        </p:nvSpPr>
        <p:spPr>
          <a:xfrm>
            <a:off x="192620" y="1114428"/>
            <a:ext cx="11804649" cy="2079625"/>
          </a:xfrm>
          <a:solidFill>
            <a:schemeClr val="bg2">
              <a:alpha val="75000"/>
            </a:schemeClr>
          </a:solidFill>
        </p:spPr>
        <p:txBody>
          <a:bodyPr lIns="432000" tIns="144000" rIns="432000" bIns="144000"/>
          <a:lstStyle>
            <a:lvl1pPr>
              <a:lnSpc>
                <a:spcPct val="92000"/>
              </a:lnSpc>
              <a:defRPr sz="3200">
                <a:solidFill>
                  <a:schemeClr val="bg1"/>
                </a:solidFill>
              </a:defRPr>
            </a:lvl1pPr>
          </a:lstStyle>
          <a:p>
            <a:r>
              <a:rPr lang="en-GB"/>
              <a:t>Text</a:t>
            </a:r>
          </a:p>
        </p:txBody>
      </p:sp>
      <p:sp>
        <p:nvSpPr>
          <p:cNvPr id="30725" name="Rectangle 5"/>
          <p:cNvSpPr>
            <a:spLocks noGrp="1" noChangeArrowheads="1"/>
          </p:cNvSpPr>
          <p:nvPr>
            <p:ph type="subTitle" idx="1"/>
          </p:nvPr>
        </p:nvSpPr>
        <p:spPr>
          <a:xfrm>
            <a:off x="190500" y="287341"/>
            <a:ext cx="11804651" cy="827087"/>
          </a:xfrm>
          <a:solidFill>
            <a:schemeClr val="bg1"/>
          </a:solidFill>
        </p:spPr>
        <p:txBody>
          <a:bodyPr lIns="432000" tIns="144000" rIns="432000" bIns="144000"/>
          <a:lstStyle>
            <a:lvl1pPr marL="0" indent="0">
              <a:spcBef>
                <a:spcPct val="0"/>
              </a:spcBef>
              <a:buFontTx/>
              <a:buNone/>
              <a:defRPr sz="1000"/>
            </a:lvl1pPr>
          </a:lstStyle>
          <a:p>
            <a:r>
              <a:rPr lang="en-GB"/>
              <a:t>Text</a:t>
            </a:r>
          </a:p>
        </p:txBody>
      </p:sp>
    </p:spTree>
    <p:extLst>
      <p:ext uri="{BB962C8B-B14F-4D97-AF65-F5344CB8AC3E}">
        <p14:creationId xmlns:p14="http://schemas.microsoft.com/office/powerpoint/2010/main" val="1491000660"/>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t>Slide no. </a:t>
            </a:r>
            <a:fld id="{03D1DD79-56FC-4698-9368-5287C818B02D}" type="slidenum">
              <a:rPr lang="en-GB"/>
              <a:pPr>
                <a:defRPr/>
              </a:pPr>
              <a:t>‹#›</a:t>
            </a:fld>
            <a:endParaRPr lang="en-GB" dirty="0"/>
          </a:p>
        </p:txBody>
      </p:sp>
      <p:sp>
        <p:nvSpPr>
          <p:cNvPr id="6" name="Rectangle 10"/>
          <p:cNvSpPr>
            <a:spLocks noGrp="1" noChangeArrowheads="1"/>
          </p:cNvSpPr>
          <p:nvPr>
            <p:ph type="ftr" sz="quarter" idx="12"/>
          </p:nvPr>
        </p:nvSpPr>
        <p:spPr>
          <a:ln/>
        </p:spPr>
        <p:txBody>
          <a:bodyPr/>
          <a:lstStyle>
            <a:lvl1pPr>
              <a:defRPr/>
            </a:lvl1pPr>
          </a:lstStyle>
          <a:p>
            <a:pPr>
              <a:defRPr/>
            </a:pPr>
            <a:r>
              <a:rPr lang="en-GB" dirty="0" smtClean="0"/>
              <a:t>May 5, 2011</a:t>
            </a:r>
            <a:endParaRPr lang="en-GB" dirty="0"/>
          </a:p>
        </p:txBody>
      </p:sp>
    </p:spTree>
    <p:extLst>
      <p:ext uri="{BB962C8B-B14F-4D97-AF65-F5344CB8AC3E}">
        <p14:creationId xmlns:p14="http://schemas.microsoft.com/office/powerpoint/2010/main" val="4134683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766237" y="2085975"/>
            <a:ext cx="5223935"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6193367" y="2085975"/>
            <a:ext cx="5226052"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Rectangle 6"/>
          <p:cNvSpPr>
            <a:spLocks noGrp="1" noChangeArrowheads="1"/>
          </p:cNvSpPr>
          <p:nvPr>
            <p:ph type="dt" sz="half" idx="10"/>
          </p:nvPr>
        </p:nvSpPr>
        <p:spPr>
          <a:ln/>
        </p:spPr>
        <p:txBody>
          <a:bodyPr/>
          <a:lstStyle>
            <a:lvl1pPr>
              <a:defRPr/>
            </a:lvl1pPr>
          </a:lstStyle>
          <a:p>
            <a:pPr>
              <a:defRPr/>
            </a:pPr>
            <a:fld id="{6610BE06-0078-4C0D-A13A-C97E9509AFC7}" type="datetime1">
              <a:rPr lang="en-GB"/>
              <a:pPr>
                <a:defRPr/>
              </a:pPr>
              <a:t>09/12/2016</a:t>
            </a:fld>
            <a:endParaRPr lang="en-GB" dirty="0"/>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t>Slide no. </a:t>
            </a:r>
            <a:fld id="{F68EE545-5B28-44E2-8052-CDE20B7D2092}" type="slidenum">
              <a:rPr lang="en-GB"/>
              <a:pPr>
                <a:defRPr/>
              </a:pPr>
              <a:t>‹#›</a:t>
            </a:fld>
            <a:endParaRPr lang="en-GB" dirty="0"/>
          </a:p>
        </p:txBody>
      </p:sp>
      <p:sp>
        <p:nvSpPr>
          <p:cNvPr id="7"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28529063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609603"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Rectangle 6"/>
          <p:cNvSpPr>
            <a:spLocks noGrp="1" noChangeArrowheads="1"/>
          </p:cNvSpPr>
          <p:nvPr>
            <p:ph type="dt" sz="half" idx="10"/>
          </p:nvPr>
        </p:nvSpPr>
        <p:spPr>
          <a:ln/>
        </p:spPr>
        <p:txBody>
          <a:bodyPr/>
          <a:lstStyle>
            <a:lvl1pPr>
              <a:defRPr/>
            </a:lvl1pPr>
          </a:lstStyle>
          <a:p>
            <a:pPr>
              <a:defRPr/>
            </a:pPr>
            <a:fld id="{B2A3BD16-5ADC-45F7-8AB9-EF97A0793BB2}" type="datetime1">
              <a:rPr lang="en-GB"/>
              <a:pPr>
                <a:defRPr/>
              </a:pPr>
              <a:t>09/12/2016</a:t>
            </a:fld>
            <a:endParaRPr lang="en-GB" dirty="0"/>
          </a:p>
        </p:txBody>
      </p:sp>
      <p:sp>
        <p:nvSpPr>
          <p:cNvPr id="8" name="Rectangle 8"/>
          <p:cNvSpPr>
            <a:spLocks noGrp="1" noChangeArrowheads="1"/>
          </p:cNvSpPr>
          <p:nvPr>
            <p:ph type="sldNum" sz="quarter" idx="11"/>
          </p:nvPr>
        </p:nvSpPr>
        <p:spPr>
          <a:ln/>
        </p:spPr>
        <p:txBody>
          <a:bodyPr/>
          <a:lstStyle>
            <a:lvl1pPr>
              <a:defRPr/>
            </a:lvl1pPr>
          </a:lstStyle>
          <a:p>
            <a:pPr>
              <a:defRPr/>
            </a:pPr>
            <a:r>
              <a:rPr lang="en-GB" dirty="0"/>
              <a:t>Slide no. </a:t>
            </a:r>
            <a:fld id="{CBDEC330-F622-46E2-BDE7-5CDAFE1B97E5}" type="slidenum">
              <a:rPr lang="en-GB"/>
              <a:pPr>
                <a:defRPr/>
              </a:pPr>
              <a:t>‹#›</a:t>
            </a:fld>
            <a:endParaRPr lang="en-GB" dirty="0"/>
          </a:p>
        </p:txBody>
      </p:sp>
      <p:sp>
        <p:nvSpPr>
          <p:cNvPr id="9"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65437882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6"/>
          <p:cNvSpPr>
            <a:spLocks noGrp="1" noChangeArrowheads="1"/>
          </p:cNvSpPr>
          <p:nvPr>
            <p:ph type="dt" sz="half" idx="10"/>
          </p:nvPr>
        </p:nvSpPr>
        <p:spPr>
          <a:ln/>
        </p:spPr>
        <p:txBody>
          <a:bodyPr/>
          <a:lstStyle>
            <a:lvl1pPr>
              <a:defRPr/>
            </a:lvl1pPr>
          </a:lstStyle>
          <a:p>
            <a:pPr>
              <a:defRPr/>
            </a:pPr>
            <a:fld id="{86640E5F-F992-4696-8786-E10ACF085CBA}" type="datetime1">
              <a:rPr lang="en-GB"/>
              <a:pPr>
                <a:defRPr/>
              </a:pPr>
              <a:t>09/12/2016</a:t>
            </a:fld>
            <a:endParaRPr lang="en-GB" dirty="0"/>
          </a:p>
        </p:txBody>
      </p:sp>
      <p:sp>
        <p:nvSpPr>
          <p:cNvPr id="4" name="Rectangle 8"/>
          <p:cNvSpPr>
            <a:spLocks noGrp="1" noChangeArrowheads="1"/>
          </p:cNvSpPr>
          <p:nvPr>
            <p:ph type="sldNum" sz="quarter" idx="11"/>
          </p:nvPr>
        </p:nvSpPr>
        <p:spPr>
          <a:ln/>
        </p:spPr>
        <p:txBody>
          <a:bodyPr/>
          <a:lstStyle>
            <a:lvl1pPr>
              <a:defRPr/>
            </a:lvl1pPr>
          </a:lstStyle>
          <a:p>
            <a:pPr>
              <a:defRPr/>
            </a:pPr>
            <a:r>
              <a:rPr lang="en-GB" dirty="0"/>
              <a:t>Slide no. </a:t>
            </a:r>
            <a:fld id="{7981A8AB-E3D7-43BD-972A-B78D8E7E30AC}" type="slidenum">
              <a:rPr lang="en-GB"/>
              <a:pPr>
                <a:defRPr/>
              </a:pPr>
              <a:t>‹#›</a:t>
            </a:fld>
            <a:endParaRPr lang="en-GB" dirty="0"/>
          </a:p>
        </p:txBody>
      </p:sp>
      <p:sp>
        <p:nvSpPr>
          <p:cNvPr id="5"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1388537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sp>
        <p:nvSpPr>
          <p:cNvPr id="6" name="Rectangle 5"/>
          <p:cNvSpPr/>
          <p:nvPr userDrawn="1"/>
        </p:nvSpPr>
        <p:spPr>
          <a:xfrm>
            <a:off x="143256" y="139701"/>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bg1"/>
                </a:solidFill>
                <a:latin typeface="+mj-lt"/>
              </a:defRPr>
            </a:lvl1pPr>
          </a:lstStyle>
          <a:p>
            <a:r>
              <a:rPr lang="en-GB" noProof="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bg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smtClean="0"/>
              <a:t>Click to edit Master subtitle style</a:t>
            </a:r>
            <a:endParaRPr lang="en-GB" noProof="0" dirty="0"/>
          </a:p>
        </p:txBody>
      </p:sp>
      <p:pic>
        <p:nvPicPr>
          <p:cNvPr id="8"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242378204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C81AA6E4-32F6-4084-9A36-FBF4AAE811BA}" type="datetime1">
              <a:rPr lang="en-GB"/>
              <a:pPr>
                <a:defRPr/>
              </a:pPr>
              <a:t>09/12/2016</a:t>
            </a:fld>
            <a:endParaRPr lang="en-GB" dirty="0"/>
          </a:p>
        </p:txBody>
      </p:sp>
      <p:sp>
        <p:nvSpPr>
          <p:cNvPr id="3" name="Rectangle 8"/>
          <p:cNvSpPr>
            <a:spLocks noGrp="1" noChangeArrowheads="1"/>
          </p:cNvSpPr>
          <p:nvPr>
            <p:ph type="sldNum" sz="quarter" idx="11"/>
          </p:nvPr>
        </p:nvSpPr>
        <p:spPr>
          <a:ln/>
        </p:spPr>
        <p:txBody>
          <a:bodyPr/>
          <a:lstStyle>
            <a:lvl1pPr>
              <a:defRPr/>
            </a:lvl1pPr>
          </a:lstStyle>
          <a:p>
            <a:pPr>
              <a:defRPr/>
            </a:pPr>
            <a:r>
              <a:rPr lang="en-GB" dirty="0"/>
              <a:t>Slide no. </a:t>
            </a:r>
            <a:fld id="{9BD0F9F1-ECE2-4EF7-93F1-296BF250BB0E}" type="slidenum">
              <a:rPr lang="en-GB"/>
              <a:pPr>
                <a:defRPr/>
              </a:pPr>
              <a:t>‹#›</a:t>
            </a:fld>
            <a:endParaRPr lang="en-GB" dirty="0"/>
          </a:p>
        </p:txBody>
      </p:sp>
      <p:sp>
        <p:nvSpPr>
          <p:cNvPr id="4"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2424120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4766735" y="273053"/>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9C255A92-D20E-4412-84DA-EAE3891B2526}" type="datetime1">
              <a:rPr lang="en-GB"/>
              <a:pPr>
                <a:defRPr/>
              </a:pPr>
              <a:t>09/12/2016</a:t>
            </a:fld>
            <a:endParaRPr lang="en-GB" dirty="0"/>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t>Slide no. </a:t>
            </a:r>
            <a:fld id="{FEF58A8B-59DC-439D-AF70-B37C6F9858A1}" type="slidenum">
              <a:rPr lang="en-GB"/>
              <a:pPr>
                <a:defRPr/>
              </a:pPr>
              <a:t>‹#›</a:t>
            </a:fld>
            <a:endParaRPr lang="en-GB" dirty="0"/>
          </a:p>
        </p:txBody>
      </p:sp>
      <p:sp>
        <p:nvSpPr>
          <p:cNvPr id="7"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410605175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a-DK" noProof="0" dirty="0" smtClean="0"/>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DF9DB75B-5AD0-47DA-8C63-3E3CFCBB7332}" type="datetime1">
              <a:rPr lang="en-GB"/>
              <a:pPr>
                <a:defRPr/>
              </a:pPr>
              <a:t>09/12/2016</a:t>
            </a:fld>
            <a:endParaRPr lang="en-GB" dirty="0"/>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t>Slide no. </a:t>
            </a:r>
            <a:fld id="{4C17DCCB-18C0-4C9E-87FA-6681B338043E}" type="slidenum">
              <a:rPr lang="en-GB"/>
              <a:pPr>
                <a:defRPr/>
              </a:pPr>
              <a:t>‹#›</a:t>
            </a:fld>
            <a:endParaRPr lang="en-GB" dirty="0"/>
          </a:p>
        </p:txBody>
      </p:sp>
      <p:sp>
        <p:nvSpPr>
          <p:cNvPr id="7"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19065264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6"/>
          <p:cNvSpPr>
            <a:spLocks noGrp="1" noChangeArrowheads="1"/>
          </p:cNvSpPr>
          <p:nvPr>
            <p:ph type="dt" sz="half" idx="10"/>
          </p:nvPr>
        </p:nvSpPr>
        <p:spPr>
          <a:ln/>
        </p:spPr>
        <p:txBody>
          <a:bodyPr/>
          <a:lstStyle>
            <a:lvl1pPr>
              <a:defRPr/>
            </a:lvl1pPr>
          </a:lstStyle>
          <a:p>
            <a:pPr>
              <a:defRPr/>
            </a:pPr>
            <a:fld id="{85E07FCC-8901-4C8B-898A-D654C2E8F242}" type="datetime1">
              <a:rPr lang="en-GB"/>
              <a:pPr>
                <a:defRPr/>
              </a:pPr>
              <a:t>09/12/2016</a:t>
            </a:fld>
            <a:endParaRPr lang="en-GB" dirty="0"/>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t>Slide no. </a:t>
            </a:r>
            <a:fld id="{46B5F09D-854C-4E37-BC9F-A7998AF8C8E8}" type="slidenum">
              <a:rPr lang="en-GB"/>
              <a:pPr>
                <a:defRPr/>
              </a:pPr>
              <a:t>‹#›</a:t>
            </a:fld>
            <a:endParaRPr lang="en-GB" dirty="0"/>
          </a:p>
        </p:txBody>
      </p:sp>
      <p:sp>
        <p:nvSpPr>
          <p:cNvPr id="6"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21435279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653" y="287341"/>
            <a:ext cx="2662767" cy="5576887"/>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766236" y="287341"/>
            <a:ext cx="7787217" cy="55768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Rectangle 6"/>
          <p:cNvSpPr>
            <a:spLocks noGrp="1" noChangeArrowheads="1"/>
          </p:cNvSpPr>
          <p:nvPr>
            <p:ph type="dt" sz="half" idx="10"/>
          </p:nvPr>
        </p:nvSpPr>
        <p:spPr>
          <a:ln/>
        </p:spPr>
        <p:txBody>
          <a:bodyPr/>
          <a:lstStyle>
            <a:lvl1pPr>
              <a:defRPr/>
            </a:lvl1pPr>
          </a:lstStyle>
          <a:p>
            <a:pPr>
              <a:defRPr/>
            </a:pPr>
            <a:fld id="{1DED3A80-C74E-4A2B-9502-2E84C5772854}" type="datetime1">
              <a:rPr lang="en-GB"/>
              <a:pPr>
                <a:defRPr/>
              </a:pPr>
              <a:t>09/12/2016</a:t>
            </a:fld>
            <a:endParaRPr lang="en-GB" dirty="0"/>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t>Slide no. </a:t>
            </a:r>
            <a:fld id="{51C936F5-C450-43F8-B347-8383FEB1C5F8}" type="slidenum">
              <a:rPr lang="en-GB"/>
              <a:pPr>
                <a:defRPr/>
              </a:pPr>
              <a:t>‹#›</a:t>
            </a:fld>
            <a:endParaRPr lang="en-GB" dirty="0"/>
          </a:p>
        </p:txBody>
      </p:sp>
      <p:sp>
        <p:nvSpPr>
          <p:cNvPr id="6"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375747922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41"/>
            <a:ext cx="10653184" cy="1512887"/>
          </a:xfrm>
        </p:spPr>
        <p:txBody>
          <a:bodyPr/>
          <a:lstStyle/>
          <a:p>
            <a:r>
              <a:rPr lang="en-US" smtClean="0"/>
              <a:t>Click to edit Master title style</a:t>
            </a:r>
            <a:endParaRPr lang="da-DK"/>
          </a:p>
        </p:txBody>
      </p:sp>
      <p:sp>
        <p:nvSpPr>
          <p:cNvPr id="3" name="Table Placeholder 2"/>
          <p:cNvSpPr>
            <a:spLocks noGrp="1"/>
          </p:cNvSpPr>
          <p:nvPr>
            <p:ph type="tbl" idx="1"/>
          </p:nvPr>
        </p:nvSpPr>
        <p:spPr>
          <a:xfrm>
            <a:off x="766233" y="2085975"/>
            <a:ext cx="10653184" cy="3778250"/>
          </a:xfrm>
        </p:spPr>
        <p:txBody>
          <a:bodyPr/>
          <a:lstStyle/>
          <a:p>
            <a:pPr lvl="0"/>
            <a:endParaRPr lang="da-DK" noProof="0" dirty="0" smtClean="0"/>
          </a:p>
        </p:txBody>
      </p:sp>
      <p:sp>
        <p:nvSpPr>
          <p:cNvPr id="4" name="Rectangle 6"/>
          <p:cNvSpPr>
            <a:spLocks noGrp="1" noChangeArrowheads="1"/>
          </p:cNvSpPr>
          <p:nvPr>
            <p:ph type="dt" sz="half" idx="10"/>
          </p:nvPr>
        </p:nvSpPr>
        <p:spPr>
          <a:ln/>
        </p:spPr>
        <p:txBody>
          <a:bodyPr/>
          <a:lstStyle>
            <a:lvl1pPr>
              <a:defRPr/>
            </a:lvl1pPr>
          </a:lstStyle>
          <a:p>
            <a:pPr>
              <a:defRPr/>
            </a:pPr>
            <a:fld id="{4C57743A-073F-453E-9714-AAF16FCB4E1D}" type="datetime1">
              <a:rPr lang="en-GB"/>
              <a:pPr>
                <a:defRPr/>
              </a:pPr>
              <a:t>09/12/2016</a:t>
            </a:fld>
            <a:endParaRPr lang="en-GB" dirty="0"/>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t>Slide no. </a:t>
            </a:r>
            <a:fld id="{5F68A36A-D473-4CF7-B4CB-5EC05B0C4167}" type="slidenum">
              <a:rPr lang="en-GB"/>
              <a:pPr>
                <a:defRPr/>
              </a:pPr>
              <a:t>‹#›</a:t>
            </a:fld>
            <a:endParaRPr lang="en-GB" dirty="0"/>
          </a:p>
        </p:txBody>
      </p:sp>
      <p:sp>
        <p:nvSpPr>
          <p:cNvPr id="6" name="Rectangle 10"/>
          <p:cNvSpPr>
            <a:spLocks noGrp="1" noChangeArrowheads="1"/>
          </p:cNvSpPr>
          <p:nvPr>
            <p:ph type="ftr" sz="quarter" idx="12"/>
          </p:nvPr>
        </p:nvSpPr>
        <p:spPr>
          <a:ln/>
        </p:spPr>
        <p:txBody>
          <a:bodyPr/>
          <a:lstStyle>
            <a:lvl1pPr>
              <a:defRPr/>
            </a:lvl1pPr>
          </a:lstStyle>
          <a:p>
            <a:pPr>
              <a:defRPr/>
            </a:pPr>
            <a:r>
              <a:rPr lang="en-GB" dirty="0"/>
              <a:t>Department</a:t>
            </a:r>
          </a:p>
        </p:txBody>
      </p:sp>
    </p:spTree>
    <p:extLst>
      <p:ext uri="{BB962C8B-B14F-4D97-AF65-F5344CB8AC3E}">
        <p14:creationId xmlns:p14="http://schemas.microsoft.com/office/powerpoint/2010/main" val="16366833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38"/>
            <a:ext cx="10653184" cy="15128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66234" y="2085975"/>
            <a:ext cx="5223933"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3367" y="2085975"/>
            <a:ext cx="5226051"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dt" sz="half" idx="10"/>
          </p:nvPr>
        </p:nvSpPr>
        <p:spPr>
          <a:ln/>
        </p:spPr>
        <p:txBody>
          <a:bodyPr/>
          <a:lstStyle>
            <a:lvl1pPr>
              <a:defRPr/>
            </a:lvl1pPr>
          </a:lstStyle>
          <a:p>
            <a:pPr>
              <a:defRPr/>
            </a:pPr>
            <a:endParaRPr lang="en-GB" dirty="0"/>
          </a:p>
        </p:txBody>
      </p:sp>
      <p:sp>
        <p:nvSpPr>
          <p:cNvPr id="6" name="Rectangle 10"/>
          <p:cNvSpPr>
            <a:spLocks noGrp="1" noChangeArrowheads="1"/>
          </p:cNvSpPr>
          <p:nvPr>
            <p:ph type="ftr" sz="quarter" idx="11"/>
          </p:nvPr>
        </p:nvSpPr>
        <p:spPr>
          <a:ln/>
        </p:spPr>
        <p:txBody>
          <a:bodyPr/>
          <a:lstStyle>
            <a:lvl1pPr>
              <a:defRPr/>
            </a:lvl1pPr>
          </a:lstStyle>
          <a:p>
            <a:pPr>
              <a:defRPr/>
            </a:pPr>
            <a:r>
              <a:rPr lang="en-GB" dirty="0" smtClean="0"/>
              <a:t>LOC Staff 4/2013</a:t>
            </a:r>
            <a:endParaRPr lang="en-GB" dirty="0"/>
          </a:p>
        </p:txBody>
      </p:sp>
    </p:spTree>
    <p:extLst>
      <p:ext uri="{BB962C8B-B14F-4D97-AF65-F5344CB8AC3E}">
        <p14:creationId xmlns:p14="http://schemas.microsoft.com/office/powerpoint/2010/main" val="10569035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11" descr="Line 1_compr"/>
          <p:cNvSpPr>
            <a:spLocks/>
          </p:cNvSpPr>
          <p:nvPr/>
        </p:nvSpPr>
        <p:spPr bwMode="auto">
          <a:xfrm>
            <a:off x="190501" y="1114425"/>
            <a:ext cx="11804651" cy="5181600"/>
          </a:xfrm>
          <a:custGeom>
            <a:avLst/>
            <a:gdLst/>
            <a:ahLst/>
            <a:cxnLst>
              <a:cxn ang="0">
                <a:pos x="13467" y="9795"/>
              </a:cxn>
              <a:cxn ang="0">
                <a:pos x="13467" y="9249"/>
              </a:cxn>
              <a:cxn ang="0">
                <a:pos x="16731" y="9249"/>
              </a:cxn>
              <a:cxn ang="0">
                <a:pos x="16731" y="0"/>
              </a:cxn>
              <a:cxn ang="0">
                <a:pos x="0" y="0"/>
              </a:cxn>
              <a:cxn ang="0">
                <a:pos x="0" y="9800"/>
              </a:cxn>
              <a:cxn ang="0">
                <a:pos x="13467" y="9795"/>
              </a:cxn>
            </a:cxnLst>
            <a:rect l="0" t="0" r="r" b="b"/>
            <a:pathLst>
              <a:path w="16731" h="9800">
                <a:moveTo>
                  <a:pt x="13467" y="9795"/>
                </a:moveTo>
                <a:lnTo>
                  <a:pt x="13467" y="9249"/>
                </a:lnTo>
                <a:lnTo>
                  <a:pt x="16731" y="9249"/>
                </a:lnTo>
                <a:lnTo>
                  <a:pt x="16731" y="0"/>
                </a:lnTo>
                <a:lnTo>
                  <a:pt x="0" y="0"/>
                </a:lnTo>
                <a:lnTo>
                  <a:pt x="0" y="9800"/>
                </a:lnTo>
                <a:lnTo>
                  <a:pt x="13467" y="9795"/>
                </a:lnTo>
                <a:close/>
              </a:path>
            </a:pathLst>
          </a:custGeom>
          <a:blipFill dpi="0" rotWithShape="1">
            <a:blip r:embed="rId2" cstate="print"/>
            <a:srcRect/>
            <a:stretch>
              <a:fillRect/>
            </a:stretch>
          </a:blipFill>
          <a:ln w="9525">
            <a:noFill/>
            <a:round/>
            <a:headEnd/>
            <a:tailEnd/>
          </a:ln>
        </p:spPr>
        <p:txBody>
          <a:bodyPr lIns="91432" tIns="45717" rIns="91432" bIns="45717"/>
          <a:lstStyle/>
          <a:p>
            <a:pPr defTabSz="914323" fontAlgn="base">
              <a:lnSpc>
                <a:spcPct val="107000"/>
              </a:lnSpc>
              <a:spcBef>
                <a:spcPct val="0"/>
              </a:spcBef>
              <a:spcAft>
                <a:spcPct val="0"/>
              </a:spcAft>
              <a:defRPr/>
            </a:pPr>
            <a:endParaRPr lang="en-GB" sz="1400" dirty="0">
              <a:solidFill>
                <a:prstClr val="black"/>
              </a:solidFill>
            </a:endParaRPr>
          </a:p>
        </p:txBody>
      </p:sp>
      <p:sp>
        <p:nvSpPr>
          <p:cNvPr id="5" name="Rectangle 4"/>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pic>
        <p:nvPicPr>
          <p:cNvPr id="6" name="Picture 10" descr="Maersk_Line_Hvid baggrund"/>
          <p:cNvPicPr>
            <a:picLocks noChangeAspect="1" noChangeArrowheads="1"/>
          </p:cNvPicPr>
          <p:nvPr/>
        </p:nvPicPr>
        <p:blipFill>
          <a:blip r:embed="rId3" cstate="print"/>
          <a:srcRect/>
          <a:stretch>
            <a:fillRect/>
          </a:stretch>
        </p:blipFill>
        <p:spPr bwMode="auto">
          <a:xfrm>
            <a:off x="9698569" y="6013451"/>
            <a:ext cx="2493433" cy="844550"/>
          </a:xfrm>
          <a:prstGeom prst="rect">
            <a:avLst/>
          </a:prstGeom>
          <a:noFill/>
          <a:ln w="9525">
            <a:noFill/>
            <a:miter lim="800000"/>
            <a:headEnd/>
            <a:tailEnd/>
          </a:ln>
        </p:spPr>
      </p:pic>
      <p:sp>
        <p:nvSpPr>
          <p:cNvPr id="30723" name="Rectangle 3"/>
          <p:cNvSpPr>
            <a:spLocks noGrp="1" noChangeArrowheads="1"/>
          </p:cNvSpPr>
          <p:nvPr>
            <p:ph type="ctrTitle"/>
          </p:nvPr>
        </p:nvSpPr>
        <p:spPr>
          <a:xfrm>
            <a:off x="192621" y="1114429"/>
            <a:ext cx="11804649" cy="2079625"/>
          </a:xfrm>
          <a:solidFill>
            <a:schemeClr val="bg2">
              <a:alpha val="75000"/>
            </a:schemeClr>
          </a:solidFill>
        </p:spPr>
        <p:txBody>
          <a:bodyPr lIns="431963" tIns="143988" rIns="431963" bIns="143988"/>
          <a:lstStyle>
            <a:lvl1pPr>
              <a:lnSpc>
                <a:spcPct val="92000"/>
              </a:lnSpc>
              <a:defRPr sz="3200">
                <a:solidFill>
                  <a:schemeClr val="bg1"/>
                </a:solidFill>
              </a:defRPr>
            </a:lvl1pPr>
          </a:lstStyle>
          <a:p>
            <a:r>
              <a:rPr lang="en-GB"/>
              <a:t>Text</a:t>
            </a:r>
          </a:p>
        </p:txBody>
      </p:sp>
      <p:sp>
        <p:nvSpPr>
          <p:cNvPr id="30725" name="Rectangle 5"/>
          <p:cNvSpPr>
            <a:spLocks noGrp="1" noChangeArrowheads="1"/>
          </p:cNvSpPr>
          <p:nvPr>
            <p:ph type="subTitle" idx="1"/>
          </p:nvPr>
        </p:nvSpPr>
        <p:spPr>
          <a:xfrm>
            <a:off x="190501" y="287342"/>
            <a:ext cx="11804651" cy="827087"/>
          </a:xfrm>
          <a:solidFill>
            <a:schemeClr val="bg1"/>
          </a:solidFill>
        </p:spPr>
        <p:txBody>
          <a:bodyPr lIns="431963" tIns="143988" rIns="431963" bIns="143988"/>
          <a:lstStyle>
            <a:lvl1pPr marL="0" indent="0">
              <a:spcBef>
                <a:spcPct val="0"/>
              </a:spcBef>
              <a:buFontTx/>
              <a:buNone/>
              <a:defRPr sz="1000"/>
            </a:lvl1pPr>
          </a:lstStyle>
          <a:p>
            <a:r>
              <a:rPr lang="en-GB"/>
              <a:t>Text</a:t>
            </a:r>
          </a:p>
        </p:txBody>
      </p:sp>
    </p:spTree>
    <p:extLst>
      <p:ext uri="{BB962C8B-B14F-4D97-AF65-F5344CB8AC3E}">
        <p14:creationId xmlns:p14="http://schemas.microsoft.com/office/powerpoint/2010/main" val="1467816730"/>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8"/>
          <p:cNvSpPr>
            <a:spLocks noGrp="1" noChangeArrowheads="1"/>
          </p:cNvSpPr>
          <p:nvPr>
            <p:ph type="sldNum" sz="quarter" idx="11"/>
          </p:nvPr>
        </p:nvSpPr>
        <p:spPr>
          <a:xfrm>
            <a:off x="795868" y="6548442"/>
            <a:ext cx="728133" cy="179387"/>
          </a:xfrm>
          <a:ln/>
        </p:spPr>
        <p:txBody>
          <a:bodyPr/>
          <a:lstStyle>
            <a:lvl1pPr>
              <a:defRPr/>
            </a:lvl1pPr>
          </a:lstStyle>
          <a:p>
            <a:pPr>
              <a:defRPr/>
            </a:pPr>
            <a:fld id="{04F90D04-9D52-4E5A-AD11-0152D3003DA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77443759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7"/>
            <a:ext cx="10363200" cy="1500187"/>
          </a:xfrm>
        </p:spPr>
        <p:txBody>
          <a:bodyPr anchor="b"/>
          <a:lstStyle>
            <a:lvl1pPr marL="0" indent="0">
              <a:buNone/>
              <a:defRPr sz="2000"/>
            </a:lvl1pPr>
            <a:lvl2pPr marL="457162" indent="0">
              <a:buNone/>
              <a:defRPr sz="1800"/>
            </a:lvl2pPr>
            <a:lvl3pPr marL="914323" indent="0">
              <a:buNone/>
              <a:defRPr sz="1600"/>
            </a:lvl3pPr>
            <a:lvl4pPr marL="1371485" indent="0">
              <a:buNone/>
              <a:defRPr sz="1400"/>
            </a:lvl4pPr>
            <a:lvl5pPr marL="1828646" indent="0">
              <a:buNone/>
              <a:defRPr sz="1400"/>
            </a:lvl5pPr>
            <a:lvl6pPr marL="2285807" indent="0">
              <a:buNone/>
              <a:defRPr sz="1400"/>
            </a:lvl6pPr>
            <a:lvl7pPr marL="2742969" indent="0">
              <a:buNone/>
              <a:defRPr sz="1400"/>
            </a:lvl7pPr>
            <a:lvl8pPr marL="3200131" indent="0">
              <a:buNone/>
              <a:defRPr sz="1400"/>
            </a:lvl8pPr>
            <a:lvl9pPr marL="3657292" indent="0">
              <a:buNone/>
              <a:defRPr sz="1400"/>
            </a:lvl9pPr>
          </a:lstStyle>
          <a:p>
            <a:pPr lvl="0"/>
            <a:r>
              <a:rPr lang="en-US" smtClean="0"/>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1016000" y="6548442"/>
            <a:ext cx="1439333" cy="179387"/>
          </a:xfrm>
          <a:ln/>
        </p:spPr>
        <p:txBody>
          <a:bodyPr/>
          <a:lstStyle>
            <a:lvl1pPr>
              <a:defRPr/>
            </a:lvl1pPr>
          </a:lstStyle>
          <a:p>
            <a:pPr>
              <a:defRPr/>
            </a:pPr>
            <a:fld id="{6EBB85A0-89DB-4511-9056-62F16E9C49DA}"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491070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tx1"/>
                </a:solidFill>
                <a:latin typeface="+mj-lt"/>
              </a:defRPr>
            </a:lvl1pPr>
          </a:lstStyle>
          <a:p>
            <a:r>
              <a:rPr lang="en-GB" noProof="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tx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smtClean="0"/>
              <a:t>Click to edit Master subtitle style</a:t>
            </a:r>
            <a:endParaRPr lang="en-GB" noProof="0" dirty="0"/>
          </a:p>
        </p:txBody>
      </p:sp>
    </p:spTree>
    <p:extLst>
      <p:ext uri="{BB962C8B-B14F-4D97-AF65-F5344CB8AC3E}">
        <p14:creationId xmlns:p14="http://schemas.microsoft.com/office/powerpoint/2010/main" val="2986329358"/>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766235" y="2085975"/>
            <a:ext cx="5223933"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93368" y="2085975"/>
            <a:ext cx="5226051"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8DF5B4DA-382C-45B6-90A4-FE737DDAF4DF}"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15876274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3" y="1535114"/>
            <a:ext cx="5386917"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70" y="1535114"/>
            <a:ext cx="5389033"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8"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04222A2A-2BB7-402B-BFB2-0C6290F7AD5D}" type="slidenum">
              <a:rPr lang="en-GB">
                <a:solidFill>
                  <a:prstClr val="black"/>
                </a:solidFill>
              </a:rPr>
              <a:pPr>
                <a:defRPr/>
              </a:pPr>
              <a:t>‹#›</a:t>
            </a:fld>
            <a:endParaRPr lang="en-GB" dirty="0">
              <a:solidFill>
                <a:prstClr val="black"/>
              </a:solidFill>
            </a:endParaRPr>
          </a:p>
        </p:txBody>
      </p:sp>
      <p:sp>
        <p:nvSpPr>
          <p:cNvPr id="9"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39044656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4"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4B2DB91A-6E11-4993-A18E-DD7302448E9D}" type="slidenum">
              <a:rPr lang="en-GB">
                <a:solidFill>
                  <a:prstClr val="black"/>
                </a:solidFill>
              </a:rPr>
              <a:pPr>
                <a:defRPr/>
              </a:pPr>
              <a:t>‹#›</a:t>
            </a:fld>
            <a:endParaRPr lang="en-GB" dirty="0">
              <a:solidFill>
                <a:prstClr val="black"/>
              </a:solidFill>
            </a:endParaRPr>
          </a:p>
        </p:txBody>
      </p:sp>
      <p:sp>
        <p:nvSpPr>
          <p:cNvPr id="5"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14253097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3"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F3107162-A752-4975-BA70-13144D023A41}" type="slidenum">
              <a:rPr lang="en-GB">
                <a:solidFill>
                  <a:prstClr val="black"/>
                </a:solidFill>
              </a:rPr>
              <a:pPr>
                <a:defRPr/>
              </a:pPr>
              <a:t>‹#›</a:t>
            </a:fld>
            <a:endParaRPr lang="en-GB" dirty="0">
              <a:solidFill>
                <a:prstClr val="black"/>
              </a:solidFill>
            </a:endParaRPr>
          </a:p>
        </p:txBody>
      </p:sp>
      <p:sp>
        <p:nvSpPr>
          <p:cNvPr id="4"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26612845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609600" y="6548442"/>
            <a:ext cx="1439333" cy="179387"/>
          </a:xfrm>
          <a:ln/>
        </p:spPr>
        <p:txBody>
          <a:bodyPr/>
          <a:lstStyle>
            <a:lvl1pPr>
              <a:defRPr/>
            </a:lvl1pPr>
          </a:lstStyle>
          <a:p>
            <a:pPr>
              <a:defRPr/>
            </a:pPr>
            <a:fld id="{6EEF1CB4-CB75-48A9-A5D7-0BCD2FBD806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615362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62" indent="0">
              <a:buNone/>
              <a:defRPr sz="2800"/>
            </a:lvl2pPr>
            <a:lvl3pPr marL="914323" indent="0">
              <a:buNone/>
              <a:defRPr sz="2400"/>
            </a:lvl3pPr>
            <a:lvl4pPr marL="1371485" indent="0">
              <a:buNone/>
              <a:defRPr sz="2000"/>
            </a:lvl4pPr>
            <a:lvl5pPr marL="1828646" indent="0">
              <a:buNone/>
              <a:defRPr sz="2000"/>
            </a:lvl5pPr>
            <a:lvl6pPr marL="2285807" indent="0">
              <a:buNone/>
              <a:defRPr sz="2000"/>
            </a:lvl6pPr>
            <a:lvl7pPr marL="2742969" indent="0">
              <a:buNone/>
              <a:defRPr sz="2000"/>
            </a:lvl7pPr>
            <a:lvl8pPr marL="3200131" indent="0">
              <a:buNone/>
              <a:defRPr sz="2000"/>
            </a:lvl8pPr>
            <a:lvl9pPr marL="3657292" indent="0">
              <a:buNone/>
              <a:defRPr sz="2000"/>
            </a:lvl9pPr>
          </a:lstStyle>
          <a:p>
            <a:pPr lvl="0"/>
            <a:endParaRPr lang="en-GB"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5214A8E4-9391-410C-8C2E-7D2391239A4C}" type="slidenum">
              <a:rPr lang="en-GB">
                <a:solidFill>
                  <a:prstClr val="black"/>
                </a:solidFill>
              </a:rPr>
              <a:pPr>
                <a:defRPr/>
              </a:pPr>
              <a:t>‹#›</a:t>
            </a:fld>
            <a:endParaRPr lang="en-GB" dirty="0">
              <a:solidFill>
                <a:prstClr val="black"/>
              </a:solidFill>
            </a:endParaRPr>
          </a:p>
        </p:txBody>
      </p:sp>
      <p:sp>
        <p:nvSpPr>
          <p:cNvPr id="7"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31140549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B1CA94DF-50B3-4B99-A764-FFB74B340EF4}"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9067018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653" y="287342"/>
            <a:ext cx="2662767" cy="55768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766237" y="287342"/>
            <a:ext cx="7787217" cy="55768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383C5D11-C660-4228-9487-EA86CDCD4C3A}" type="slidenum">
              <a:rPr lang="en-GB">
                <a:solidFill>
                  <a:prstClr val="black"/>
                </a:solidFill>
              </a:rPr>
              <a:pPr>
                <a:defRPr/>
              </a:pPr>
              <a:t>‹#›</a:t>
            </a:fld>
            <a:endParaRPr lang="en-GB" dirty="0">
              <a:solidFill>
                <a:prstClr val="black"/>
              </a:solidFill>
            </a:endParaRPr>
          </a:p>
        </p:txBody>
      </p:sp>
      <p:sp>
        <p:nvSpPr>
          <p:cNvPr id="6"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9137341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Rectangle 4"/>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a:defRPr/>
            </a:pPr>
            <a:endParaRPr lang="en-GB" sz="1800" dirty="0">
              <a:solidFill>
                <a:srgbClr val="000000"/>
              </a:solidFill>
            </a:endParaRPr>
          </a:p>
        </p:txBody>
      </p:sp>
      <p:pic>
        <p:nvPicPr>
          <p:cNvPr id="3" name="Picture 10" descr="Maersk_Line_Hvid baggrund"/>
          <p:cNvPicPr>
            <a:picLocks noChangeAspect="1" noChangeArrowheads="1"/>
          </p:cNvPicPr>
          <p:nvPr/>
        </p:nvPicPr>
        <p:blipFill>
          <a:blip r:embed="rId3" cstate="print"/>
          <a:srcRect t="9023"/>
          <a:stretch>
            <a:fillRect/>
          </a:stretch>
        </p:blipFill>
        <p:spPr bwMode="auto">
          <a:xfrm>
            <a:off x="9698568" y="6089650"/>
            <a:ext cx="2493433" cy="768350"/>
          </a:xfrm>
          <a:prstGeom prst="rect">
            <a:avLst/>
          </a:prstGeom>
          <a:noFill/>
          <a:ln w="9525">
            <a:noFill/>
            <a:miter lim="800000"/>
            <a:headEnd/>
            <a:tailEnd/>
          </a:ln>
        </p:spPr>
      </p:pic>
      <p:sp>
        <p:nvSpPr>
          <p:cNvPr id="4" name="Rectangle 14"/>
          <p:cNvSpPr>
            <a:spLocks noGrp="1" noChangeArrowheads="1"/>
          </p:cNvSpPr>
          <p:nvPr>
            <p:ph type="ftr" sz="quarter" idx="10"/>
          </p:nvPr>
        </p:nvSpPr>
        <p:spPr>
          <a:xfrm>
            <a:off x="4165600" y="6356351"/>
            <a:ext cx="3860800" cy="365125"/>
          </a:xfrm>
          <a:prstGeom prst="rect">
            <a:avLst/>
          </a:prstGeom>
        </p:spPr>
        <p:txBody>
          <a:bodyPr/>
          <a:lstStyle>
            <a:lvl1pPr>
              <a:defRPr/>
            </a:lvl1pPr>
          </a:lstStyle>
          <a:p>
            <a:pPr>
              <a:defRPr/>
            </a:pPr>
            <a:r>
              <a:rPr lang="en-GB" dirty="0">
                <a:solidFill>
                  <a:srgbClr val="000000">
                    <a:tint val="75000"/>
                  </a:srgbClr>
                </a:solidFill>
              </a:rPr>
              <a:t>Maersk Line Sustainability</a:t>
            </a:r>
          </a:p>
        </p:txBody>
      </p:sp>
    </p:spTree>
    <p:extLst>
      <p:ext uri="{BB962C8B-B14F-4D97-AF65-F5344CB8AC3E}">
        <p14:creationId xmlns:p14="http://schemas.microsoft.com/office/powerpoint/2010/main" val="2319208975"/>
      </p:ext>
    </p:extLst>
  </p:cSld>
  <p:clrMapOvr>
    <a:overrideClrMapping bg1="lt1" tx1="dk1" bg2="lt2" tx2="dk2" accent1="accent1" accent2="accent2" accent3="accent3" accent4="accent4" accent5="accent5" accent6="accent6" hlink="hlink" folHlink="folHlink"/>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38"/>
            <a:ext cx="10653184" cy="15128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66234" y="2085975"/>
            <a:ext cx="5223933"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3367" y="2085975"/>
            <a:ext cx="5226051"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dt" sz="half" idx="10"/>
          </p:nvPr>
        </p:nvSpPr>
        <p:spPr>
          <a:ln/>
        </p:spPr>
        <p:txBody>
          <a:bodyPr/>
          <a:lstStyle>
            <a:lvl1pPr>
              <a:defRPr/>
            </a:lvl1pPr>
          </a:lstStyle>
          <a:p>
            <a:pPr>
              <a:defRPr/>
            </a:pPr>
            <a:endParaRPr lang="en-GB" dirty="0">
              <a:solidFill>
                <a:prstClr val="black"/>
              </a:solidFill>
            </a:endParaRPr>
          </a:p>
        </p:txBody>
      </p:sp>
      <p:sp>
        <p:nvSpPr>
          <p:cNvPr id="6" name="Rectangle 10"/>
          <p:cNvSpPr>
            <a:spLocks noGrp="1" noChangeArrowheads="1"/>
          </p:cNvSpPr>
          <p:nvPr>
            <p:ph type="ftr" sz="quarter" idx="11"/>
          </p:nvPr>
        </p:nvSpPr>
        <p:spPr>
          <a:xfrm>
            <a:off x="766236" y="6548441"/>
            <a:ext cx="2161119" cy="179387"/>
          </a:xfrm>
          <a:prstGeom prst="rect">
            <a:avLst/>
          </a:prstGeom>
          <a:ln/>
        </p:spPr>
        <p:txBody>
          <a:bodyPr/>
          <a:lstStyle>
            <a:lvl1pPr>
              <a:defRPr/>
            </a:lvl1pPr>
          </a:lstStyle>
          <a:p>
            <a:pPr>
              <a:defRPr/>
            </a:pPr>
            <a:r>
              <a:rPr lang="en-GB" dirty="0" smtClean="0">
                <a:solidFill>
                  <a:prstClr val="black"/>
                </a:solidFill>
              </a:rPr>
              <a:t>LOC Staff 4/2013</a:t>
            </a:r>
            <a:endParaRPr lang="en-GB" dirty="0">
              <a:solidFill>
                <a:prstClr val="black"/>
              </a:solidFill>
            </a:endParaRPr>
          </a:p>
        </p:txBody>
      </p:sp>
    </p:spTree>
    <p:extLst>
      <p:ext uri="{BB962C8B-B14F-4D97-AF65-F5344CB8AC3E}">
        <p14:creationId xmlns:p14="http://schemas.microsoft.com/office/powerpoint/2010/main" val="35780827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lvl1pPr>
              <a:buSzPct val="100000"/>
              <a:defRPr>
                <a:solidFill>
                  <a:schemeClr val="tx1"/>
                </a:solidFill>
              </a:defRPr>
            </a:lvl1pPr>
            <a:lvl2pPr>
              <a:buSzPct val="100000"/>
              <a:defRPr>
                <a:solidFill>
                  <a:schemeClr val="tx1"/>
                </a:solidFill>
              </a:defRPr>
            </a:lvl2pPr>
            <a:lvl3pPr>
              <a:buSzPct val="100000"/>
              <a:defRPr>
                <a:solidFill>
                  <a:schemeClr val="tx1"/>
                </a:solidFill>
              </a:defRPr>
            </a:lvl3pPr>
            <a:lvl4pPr>
              <a:buSzPct val="100000"/>
              <a:defRPr>
                <a:solidFill>
                  <a:schemeClr val="tx1"/>
                </a:solidFill>
              </a:defRPr>
            </a:lvl4pPr>
            <a:lvl5pPr>
              <a:buSzPct val="100000"/>
              <a:defRPr>
                <a:solidFill>
                  <a:schemeClr val="tx1"/>
                </a:solidFill>
              </a:defRPr>
            </a:lvl5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dirty="0"/>
          </a:p>
        </p:txBody>
      </p:sp>
    </p:spTree>
    <p:extLst>
      <p:ext uri="{BB962C8B-B14F-4D97-AF65-F5344CB8AC3E}">
        <p14:creationId xmlns:p14="http://schemas.microsoft.com/office/powerpoint/2010/main" val="1571459021"/>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fld id="{D24B618C-AAD6-4108-9FB1-671D1F076F26}" type="datetime1">
              <a:rPr lang="en-GB" smtClean="0">
                <a:solidFill>
                  <a:prstClr val="black"/>
                </a:solidFill>
              </a:rPr>
              <a:pPr/>
              <a:t>09/12/2016</a:t>
            </a:fld>
            <a:endParaRPr lang="en-GB" dirty="0">
              <a:solidFill>
                <a:prstClr val="black"/>
              </a:solidFill>
            </a:endParaRPr>
          </a:p>
        </p:txBody>
      </p:sp>
      <p:sp>
        <p:nvSpPr>
          <p:cNvPr id="4" name="Footer Placeholder 3"/>
          <p:cNvSpPr>
            <a:spLocks noGrp="1"/>
          </p:cNvSpPr>
          <p:nvPr>
            <p:ph type="ftr" sz="quarter" idx="11"/>
          </p:nvPr>
        </p:nvSpPr>
        <p:spPr>
          <a:xfrm>
            <a:off x="6187200" y="115200"/>
            <a:ext cx="5011200" cy="298800"/>
          </a:xfrm>
          <a:prstGeom prst="rect">
            <a:avLst/>
          </a:prstGeom>
        </p:spPr>
        <p:txBody>
          <a:bodyPr/>
          <a:lstStyle/>
          <a:p>
            <a:r>
              <a:rPr lang="en-GB" dirty="0" smtClean="0">
                <a:solidFill>
                  <a:prstClr val="black"/>
                </a:solidFill>
              </a:rPr>
              <a:t>Title of presentation |</a:t>
            </a:r>
            <a:endParaRPr lang="en-GB" dirty="0">
              <a:solidFill>
                <a:prstClr val="black"/>
              </a:solidFill>
            </a:endParaRPr>
          </a:p>
        </p:txBody>
      </p:sp>
      <p:sp>
        <p:nvSpPr>
          <p:cNvPr id="5" name="Slide Number Placeholder 4"/>
          <p:cNvSpPr>
            <a:spLocks noGrp="1"/>
          </p:cNvSpPr>
          <p:nvPr>
            <p:ph type="sldNum" sz="quarter" idx="12"/>
          </p:nvPr>
        </p:nvSpPr>
        <p:spPr/>
        <p:txBody>
          <a:bodyPr/>
          <a:lstStyle/>
          <a:p>
            <a:r>
              <a:rPr lang="en-GB" dirty="0" smtClean="0">
                <a:solidFill>
                  <a:prstClr val="black"/>
                </a:solidFill>
              </a:rPr>
              <a:t>page </a:t>
            </a:r>
            <a:fld id="{161BE2EA-AEDB-4948-88E1-594E5C4BF481}" type="slidenum">
              <a:rPr lang="en-GB" smtClean="0">
                <a:solidFill>
                  <a:prstClr val="black"/>
                </a:solidFill>
              </a:rPr>
              <a:pPr/>
              <a:t>‹#›</a:t>
            </a:fld>
            <a:endParaRPr lang="en-GB" dirty="0">
              <a:solidFill>
                <a:prstClr val="black"/>
              </a:solidFill>
            </a:endParaRPr>
          </a:p>
        </p:txBody>
      </p:sp>
      <p:sp>
        <p:nvSpPr>
          <p:cNvPr id="7" name="Content Placeholder 6"/>
          <p:cNvSpPr>
            <a:spLocks noGrp="1"/>
          </p:cNvSpPr>
          <p:nvPr>
            <p:ph sz="quarter" idx="13"/>
          </p:nvPr>
        </p:nvSpPr>
        <p:spPr>
          <a:xfrm>
            <a:off x="613832" y="1516064"/>
            <a:ext cx="9422400" cy="458152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7428517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11" descr="Line 1_compr"/>
          <p:cNvSpPr>
            <a:spLocks/>
          </p:cNvSpPr>
          <p:nvPr/>
        </p:nvSpPr>
        <p:spPr bwMode="auto">
          <a:xfrm>
            <a:off x="190501" y="1114425"/>
            <a:ext cx="11804651" cy="5181600"/>
          </a:xfrm>
          <a:custGeom>
            <a:avLst/>
            <a:gdLst/>
            <a:ahLst/>
            <a:cxnLst>
              <a:cxn ang="0">
                <a:pos x="13467" y="9795"/>
              </a:cxn>
              <a:cxn ang="0">
                <a:pos x="13467" y="9249"/>
              </a:cxn>
              <a:cxn ang="0">
                <a:pos x="16731" y="9249"/>
              </a:cxn>
              <a:cxn ang="0">
                <a:pos x="16731" y="0"/>
              </a:cxn>
              <a:cxn ang="0">
                <a:pos x="0" y="0"/>
              </a:cxn>
              <a:cxn ang="0">
                <a:pos x="0" y="9800"/>
              </a:cxn>
              <a:cxn ang="0">
                <a:pos x="13467" y="9795"/>
              </a:cxn>
            </a:cxnLst>
            <a:rect l="0" t="0" r="r" b="b"/>
            <a:pathLst>
              <a:path w="16731" h="9800">
                <a:moveTo>
                  <a:pt x="13467" y="9795"/>
                </a:moveTo>
                <a:lnTo>
                  <a:pt x="13467" y="9249"/>
                </a:lnTo>
                <a:lnTo>
                  <a:pt x="16731" y="9249"/>
                </a:lnTo>
                <a:lnTo>
                  <a:pt x="16731" y="0"/>
                </a:lnTo>
                <a:lnTo>
                  <a:pt x="0" y="0"/>
                </a:lnTo>
                <a:lnTo>
                  <a:pt x="0" y="9800"/>
                </a:lnTo>
                <a:lnTo>
                  <a:pt x="13467" y="9795"/>
                </a:lnTo>
                <a:close/>
              </a:path>
            </a:pathLst>
          </a:custGeom>
          <a:blipFill dpi="0" rotWithShape="1">
            <a:blip r:embed="rId2" cstate="print"/>
            <a:srcRect/>
            <a:stretch>
              <a:fillRect/>
            </a:stretch>
          </a:blipFill>
          <a:ln w="9525">
            <a:noFill/>
            <a:round/>
            <a:headEnd/>
            <a:tailEnd/>
          </a:ln>
        </p:spPr>
        <p:txBody>
          <a:bodyPr lIns="91432" tIns="45717" rIns="91432" bIns="45717"/>
          <a:lstStyle/>
          <a:p>
            <a:pPr defTabSz="914323" fontAlgn="base">
              <a:lnSpc>
                <a:spcPct val="107000"/>
              </a:lnSpc>
              <a:spcBef>
                <a:spcPct val="0"/>
              </a:spcBef>
              <a:spcAft>
                <a:spcPct val="0"/>
              </a:spcAft>
              <a:defRPr/>
            </a:pPr>
            <a:endParaRPr lang="en-GB" sz="1400" dirty="0">
              <a:solidFill>
                <a:prstClr val="black"/>
              </a:solidFill>
            </a:endParaRPr>
          </a:p>
        </p:txBody>
      </p:sp>
      <p:sp>
        <p:nvSpPr>
          <p:cNvPr id="5" name="Rectangle 4"/>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pic>
        <p:nvPicPr>
          <p:cNvPr id="6" name="Picture 10" descr="Maersk_Line_Hvid baggrund"/>
          <p:cNvPicPr>
            <a:picLocks noChangeAspect="1" noChangeArrowheads="1"/>
          </p:cNvPicPr>
          <p:nvPr/>
        </p:nvPicPr>
        <p:blipFill>
          <a:blip r:embed="rId3" cstate="print"/>
          <a:srcRect/>
          <a:stretch>
            <a:fillRect/>
          </a:stretch>
        </p:blipFill>
        <p:spPr bwMode="auto">
          <a:xfrm>
            <a:off x="9698569" y="6013451"/>
            <a:ext cx="2493433" cy="844550"/>
          </a:xfrm>
          <a:prstGeom prst="rect">
            <a:avLst/>
          </a:prstGeom>
          <a:noFill/>
          <a:ln w="9525">
            <a:noFill/>
            <a:miter lim="800000"/>
            <a:headEnd/>
            <a:tailEnd/>
          </a:ln>
        </p:spPr>
      </p:pic>
      <p:sp>
        <p:nvSpPr>
          <p:cNvPr id="30723" name="Rectangle 3"/>
          <p:cNvSpPr>
            <a:spLocks noGrp="1" noChangeArrowheads="1"/>
          </p:cNvSpPr>
          <p:nvPr>
            <p:ph type="ctrTitle"/>
          </p:nvPr>
        </p:nvSpPr>
        <p:spPr>
          <a:xfrm>
            <a:off x="192621" y="1114429"/>
            <a:ext cx="11804649" cy="2079625"/>
          </a:xfrm>
          <a:solidFill>
            <a:schemeClr val="bg2">
              <a:alpha val="75000"/>
            </a:schemeClr>
          </a:solidFill>
        </p:spPr>
        <p:txBody>
          <a:bodyPr lIns="431963" tIns="143988" rIns="431963" bIns="143988"/>
          <a:lstStyle>
            <a:lvl1pPr>
              <a:lnSpc>
                <a:spcPct val="92000"/>
              </a:lnSpc>
              <a:defRPr sz="3200">
                <a:solidFill>
                  <a:schemeClr val="bg1"/>
                </a:solidFill>
              </a:defRPr>
            </a:lvl1pPr>
          </a:lstStyle>
          <a:p>
            <a:r>
              <a:rPr lang="en-GB"/>
              <a:t>Text</a:t>
            </a:r>
          </a:p>
        </p:txBody>
      </p:sp>
      <p:sp>
        <p:nvSpPr>
          <p:cNvPr id="30725" name="Rectangle 5"/>
          <p:cNvSpPr>
            <a:spLocks noGrp="1" noChangeArrowheads="1"/>
          </p:cNvSpPr>
          <p:nvPr>
            <p:ph type="subTitle" idx="1"/>
          </p:nvPr>
        </p:nvSpPr>
        <p:spPr>
          <a:xfrm>
            <a:off x="190501" y="287342"/>
            <a:ext cx="11804651" cy="827087"/>
          </a:xfrm>
          <a:solidFill>
            <a:schemeClr val="bg1"/>
          </a:solidFill>
        </p:spPr>
        <p:txBody>
          <a:bodyPr lIns="431963" tIns="143988" rIns="431963" bIns="143988"/>
          <a:lstStyle>
            <a:lvl1pPr marL="0" indent="0">
              <a:spcBef>
                <a:spcPct val="0"/>
              </a:spcBef>
              <a:buFontTx/>
              <a:buNone/>
              <a:defRPr sz="1000"/>
            </a:lvl1pPr>
          </a:lstStyle>
          <a:p>
            <a:r>
              <a:rPr lang="en-GB"/>
              <a:t>Text</a:t>
            </a:r>
          </a:p>
        </p:txBody>
      </p:sp>
    </p:spTree>
    <p:extLst>
      <p:ext uri="{BB962C8B-B14F-4D97-AF65-F5344CB8AC3E}">
        <p14:creationId xmlns:p14="http://schemas.microsoft.com/office/powerpoint/2010/main" val="468158927"/>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8"/>
          <p:cNvSpPr>
            <a:spLocks noGrp="1" noChangeArrowheads="1"/>
          </p:cNvSpPr>
          <p:nvPr>
            <p:ph type="sldNum" sz="quarter" idx="11"/>
          </p:nvPr>
        </p:nvSpPr>
        <p:spPr>
          <a:xfrm>
            <a:off x="795868" y="6548442"/>
            <a:ext cx="728133" cy="179387"/>
          </a:xfrm>
          <a:ln/>
        </p:spPr>
        <p:txBody>
          <a:bodyPr/>
          <a:lstStyle>
            <a:lvl1pPr>
              <a:defRPr/>
            </a:lvl1pPr>
          </a:lstStyle>
          <a:p>
            <a:pPr>
              <a:defRPr/>
            </a:pPr>
            <a:fld id="{04F90D04-9D52-4E5A-AD11-0152D3003DA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9438860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7"/>
            <a:ext cx="10363200" cy="1500187"/>
          </a:xfrm>
        </p:spPr>
        <p:txBody>
          <a:bodyPr anchor="b"/>
          <a:lstStyle>
            <a:lvl1pPr marL="0" indent="0">
              <a:buNone/>
              <a:defRPr sz="2000"/>
            </a:lvl1pPr>
            <a:lvl2pPr marL="457162" indent="0">
              <a:buNone/>
              <a:defRPr sz="1800"/>
            </a:lvl2pPr>
            <a:lvl3pPr marL="914323" indent="0">
              <a:buNone/>
              <a:defRPr sz="1600"/>
            </a:lvl3pPr>
            <a:lvl4pPr marL="1371485" indent="0">
              <a:buNone/>
              <a:defRPr sz="1400"/>
            </a:lvl4pPr>
            <a:lvl5pPr marL="1828646" indent="0">
              <a:buNone/>
              <a:defRPr sz="1400"/>
            </a:lvl5pPr>
            <a:lvl6pPr marL="2285807" indent="0">
              <a:buNone/>
              <a:defRPr sz="1400"/>
            </a:lvl6pPr>
            <a:lvl7pPr marL="2742969" indent="0">
              <a:buNone/>
              <a:defRPr sz="1400"/>
            </a:lvl7pPr>
            <a:lvl8pPr marL="3200131" indent="0">
              <a:buNone/>
              <a:defRPr sz="1400"/>
            </a:lvl8pPr>
            <a:lvl9pPr marL="3657292" indent="0">
              <a:buNone/>
              <a:defRPr sz="1400"/>
            </a:lvl9pPr>
          </a:lstStyle>
          <a:p>
            <a:pPr lvl="0"/>
            <a:r>
              <a:rPr lang="en-US" smtClean="0"/>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1016000" y="6548442"/>
            <a:ext cx="1439333" cy="179387"/>
          </a:xfrm>
          <a:ln/>
        </p:spPr>
        <p:txBody>
          <a:bodyPr/>
          <a:lstStyle>
            <a:lvl1pPr>
              <a:defRPr/>
            </a:lvl1pPr>
          </a:lstStyle>
          <a:p>
            <a:pPr>
              <a:defRPr/>
            </a:pPr>
            <a:fld id="{6EBB85A0-89DB-4511-9056-62F16E9C49DA}"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76160313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766235" y="2085975"/>
            <a:ext cx="5223933"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93368" y="2085975"/>
            <a:ext cx="5226051"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8DF5B4DA-382C-45B6-90A4-FE737DDAF4DF}"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9192911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3" y="1535114"/>
            <a:ext cx="5386917"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70" y="1535114"/>
            <a:ext cx="5389033"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8"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04222A2A-2BB7-402B-BFB2-0C6290F7AD5D}" type="slidenum">
              <a:rPr lang="en-GB">
                <a:solidFill>
                  <a:prstClr val="black"/>
                </a:solidFill>
              </a:rPr>
              <a:pPr>
                <a:defRPr/>
              </a:pPr>
              <a:t>‹#›</a:t>
            </a:fld>
            <a:endParaRPr lang="en-GB" dirty="0">
              <a:solidFill>
                <a:prstClr val="black"/>
              </a:solidFill>
            </a:endParaRPr>
          </a:p>
        </p:txBody>
      </p:sp>
      <p:sp>
        <p:nvSpPr>
          <p:cNvPr id="9"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354561885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4"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4B2DB91A-6E11-4993-A18E-DD7302448E9D}" type="slidenum">
              <a:rPr lang="en-GB">
                <a:solidFill>
                  <a:prstClr val="black"/>
                </a:solidFill>
              </a:rPr>
              <a:pPr>
                <a:defRPr/>
              </a:pPr>
              <a:t>‹#›</a:t>
            </a:fld>
            <a:endParaRPr lang="en-GB" dirty="0">
              <a:solidFill>
                <a:prstClr val="black"/>
              </a:solidFill>
            </a:endParaRPr>
          </a:p>
        </p:txBody>
      </p:sp>
      <p:sp>
        <p:nvSpPr>
          <p:cNvPr id="5"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16163569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3"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F3107162-A752-4975-BA70-13144D023A41}" type="slidenum">
              <a:rPr lang="en-GB">
                <a:solidFill>
                  <a:prstClr val="black"/>
                </a:solidFill>
              </a:rPr>
              <a:pPr>
                <a:defRPr/>
              </a:pPr>
              <a:t>‹#›</a:t>
            </a:fld>
            <a:endParaRPr lang="en-GB" dirty="0">
              <a:solidFill>
                <a:prstClr val="black"/>
              </a:solidFill>
            </a:endParaRPr>
          </a:p>
        </p:txBody>
      </p:sp>
      <p:sp>
        <p:nvSpPr>
          <p:cNvPr id="4"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419908215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609600" y="6548442"/>
            <a:ext cx="1439333" cy="179387"/>
          </a:xfrm>
          <a:ln/>
        </p:spPr>
        <p:txBody>
          <a:bodyPr/>
          <a:lstStyle>
            <a:lvl1pPr>
              <a:defRPr/>
            </a:lvl1pPr>
          </a:lstStyle>
          <a:p>
            <a:pPr>
              <a:defRPr/>
            </a:pPr>
            <a:fld id="{6EEF1CB4-CB75-48A9-A5D7-0BCD2FBD806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15884689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62" indent="0">
              <a:buNone/>
              <a:defRPr sz="2800"/>
            </a:lvl2pPr>
            <a:lvl3pPr marL="914323" indent="0">
              <a:buNone/>
              <a:defRPr sz="2400"/>
            </a:lvl3pPr>
            <a:lvl4pPr marL="1371485" indent="0">
              <a:buNone/>
              <a:defRPr sz="2000"/>
            </a:lvl4pPr>
            <a:lvl5pPr marL="1828646" indent="0">
              <a:buNone/>
              <a:defRPr sz="2000"/>
            </a:lvl5pPr>
            <a:lvl6pPr marL="2285807" indent="0">
              <a:buNone/>
              <a:defRPr sz="2000"/>
            </a:lvl6pPr>
            <a:lvl7pPr marL="2742969" indent="0">
              <a:buNone/>
              <a:defRPr sz="2000"/>
            </a:lvl7pPr>
            <a:lvl8pPr marL="3200131" indent="0">
              <a:buNone/>
              <a:defRPr sz="2000"/>
            </a:lvl8pPr>
            <a:lvl9pPr marL="3657292" indent="0">
              <a:buNone/>
              <a:defRPr sz="2000"/>
            </a:lvl9pPr>
          </a:lstStyle>
          <a:p>
            <a:pPr lvl="0"/>
            <a:endParaRPr lang="en-GB"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5214A8E4-9391-410C-8C2E-7D2391239A4C}" type="slidenum">
              <a:rPr lang="en-GB">
                <a:solidFill>
                  <a:prstClr val="black"/>
                </a:solidFill>
              </a:rPr>
              <a:pPr>
                <a:defRPr/>
              </a:pPr>
              <a:t>‹#›</a:t>
            </a:fld>
            <a:endParaRPr lang="en-GB" dirty="0">
              <a:solidFill>
                <a:prstClr val="black"/>
              </a:solidFill>
            </a:endParaRPr>
          </a:p>
        </p:txBody>
      </p:sp>
      <p:sp>
        <p:nvSpPr>
          <p:cNvPr id="7"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11272140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smtClean="0"/>
              <a:t>Click to edit Master title style</a:t>
            </a:r>
            <a:endParaRPr lang="en-GB" noProof="0" dirty="0"/>
          </a:p>
        </p:txBody>
      </p:sp>
    </p:spTree>
    <p:extLst>
      <p:ext uri="{BB962C8B-B14F-4D97-AF65-F5344CB8AC3E}">
        <p14:creationId xmlns:p14="http://schemas.microsoft.com/office/powerpoint/2010/main" val="4235427731"/>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B1CA94DF-50B3-4B99-A764-FFB74B340EF4}"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93991240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653" y="287342"/>
            <a:ext cx="2662767" cy="55768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766237" y="287342"/>
            <a:ext cx="7787217" cy="55768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383C5D11-C660-4228-9487-EA86CDCD4C3A}" type="slidenum">
              <a:rPr lang="en-GB">
                <a:solidFill>
                  <a:prstClr val="black"/>
                </a:solidFill>
              </a:rPr>
              <a:pPr>
                <a:defRPr/>
              </a:pPr>
              <a:t>‹#›</a:t>
            </a:fld>
            <a:endParaRPr lang="en-GB" dirty="0">
              <a:solidFill>
                <a:prstClr val="black"/>
              </a:solidFill>
            </a:endParaRPr>
          </a:p>
        </p:txBody>
      </p:sp>
      <p:sp>
        <p:nvSpPr>
          <p:cNvPr id="6"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204331825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Rectangle 4"/>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a:defRPr/>
            </a:pPr>
            <a:endParaRPr lang="en-GB" sz="1800" dirty="0">
              <a:solidFill>
                <a:srgbClr val="000000"/>
              </a:solidFill>
            </a:endParaRPr>
          </a:p>
        </p:txBody>
      </p:sp>
      <p:pic>
        <p:nvPicPr>
          <p:cNvPr id="3" name="Picture 10" descr="Maersk_Line_Hvid baggrund"/>
          <p:cNvPicPr>
            <a:picLocks noChangeAspect="1" noChangeArrowheads="1"/>
          </p:cNvPicPr>
          <p:nvPr/>
        </p:nvPicPr>
        <p:blipFill>
          <a:blip r:embed="rId3" cstate="print"/>
          <a:srcRect t="9023"/>
          <a:stretch>
            <a:fillRect/>
          </a:stretch>
        </p:blipFill>
        <p:spPr bwMode="auto">
          <a:xfrm>
            <a:off x="9698568" y="6089650"/>
            <a:ext cx="2493433" cy="768350"/>
          </a:xfrm>
          <a:prstGeom prst="rect">
            <a:avLst/>
          </a:prstGeom>
          <a:noFill/>
          <a:ln w="9525">
            <a:noFill/>
            <a:miter lim="800000"/>
            <a:headEnd/>
            <a:tailEnd/>
          </a:ln>
        </p:spPr>
      </p:pic>
      <p:sp>
        <p:nvSpPr>
          <p:cNvPr id="4" name="Rectangle 14"/>
          <p:cNvSpPr>
            <a:spLocks noGrp="1" noChangeArrowheads="1"/>
          </p:cNvSpPr>
          <p:nvPr>
            <p:ph type="ftr" sz="quarter" idx="10"/>
          </p:nvPr>
        </p:nvSpPr>
        <p:spPr>
          <a:xfrm>
            <a:off x="4165600" y="6356351"/>
            <a:ext cx="3860800" cy="365125"/>
          </a:xfrm>
          <a:prstGeom prst="rect">
            <a:avLst/>
          </a:prstGeom>
        </p:spPr>
        <p:txBody>
          <a:bodyPr/>
          <a:lstStyle>
            <a:lvl1pPr>
              <a:defRPr/>
            </a:lvl1pPr>
          </a:lstStyle>
          <a:p>
            <a:pPr>
              <a:defRPr/>
            </a:pPr>
            <a:r>
              <a:rPr lang="en-GB" dirty="0">
                <a:solidFill>
                  <a:srgbClr val="000000">
                    <a:tint val="75000"/>
                  </a:srgbClr>
                </a:solidFill>
              </a:rPr>
              <a:t>Maersk Line Sustainability</a:t>
            </a:r>
          </a:p>
        </p:txBody>
      </p:sp>
    </p:spTree>
    <p:extLst>
      <p:ext uri="{BB962C8B-B14F-4D97-AF65-F5344CB8AC3E}">
        <p14:creationId xmlns:p14="http://schemas.microsoft.com/office/powerpoint/2010/main" val="862368499"/>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38"/>
            <a:ext cx="10653184" cy="15128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66234" y="2085975"/>
            <a:ext cx="5223933"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3367" y="2085975"/>
            <a:ext cx="5226051"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dt" sz="half" idx="10"/>
          </p:nvPr>
        </p:nvSpPr>
        <p:spPr>
          <a:ln/>
        </p:spPr>
        <p:txBody>
          <a:bodyPr/>
          <a:lstStyle>
            <a:lvl1pPr>
              <a:defRPr/>
            </a:lvl1pPr>
          </a:lstStyle>
          <a:p>
            <a:pPr>
              <a:defRPr/>
            </a:pPr>
            <a:endParaRPr lang="en-GB" dirty="0">
              <a:solidFill>
                <a:prstClr val="black"/>
              </a:solidFill>
            </a:endParaRPr>
          </a:p>
        </p:txBody>
      </p:sp>
      <p:sp>
        <p:nvSpPr>
          <p:cNvPr id="6" name="Rectangle 10"/>
          <p:cNvSpPr>
            <a:spLocks noGrp="1" noChangeArrowheads="1"/>
          </p:cNvSpPr>
          <p:nvPr>
            <p:ph type="ftr" sz="quarter" idx="11"/>
          </p:nvPr>
        </p:nvSpPr>
        <p:spPr>
          <a:xfrm>
            <a:off x="766236" y="6548441"/>
            <a:ext cx="2161119" cy="179387"/>
          </a:xfrm>
          <a:prstGeom prst="rect">
            <a:avLst/>
          </a:prstGeom>
          <a:ln/>
        </p:spPr>
        <p:txBody>
          <a:bodyPr/>
          <a:lstStyle>
            <a:lvl1pPr>
              <a:defRPr/>
            </a:lvl1pPr>
          </a:lstStyle>
          <a:p>
            <a:pPr>
              <a:defRPr/>
            </a:pPr>
            <a:r>
              <a:rPr lang="en-GB" dirty="0" smtClean="0">
                <a:solidFill>
                  <a:prstClr val="black"/>
                </a:solidFill>
              </a:rPr>
              <a:t>LOC Staff 4/2013</a:t>
            </a:r>
            <a:endParaRPr lang="en-GB" dirty="0">
              <a:solidFill>
                <a:prstClr val="black"/>
              </a:solidFill>
            </a:endParaRPr>
          </a:p>
        </p:txBody>
      </p:sp>
    </p:spTree>
    <p:extLst>
      <p:ext uri="{BB962C8B-B14F-4D97-AF65-F5344CB8AC3E}">
        <p14:creationId xmlns:p14="http://schemas.microsoft.com/office/powerpoint/2010/main" val="20906174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fld id="{D24B618C-AAD6-4108-9FB1-671D1F076F26}" type="datetime1">
              <a:rPr lang="en-GB" smtClean="0">
                <a:solidFill>
                  <a:prstClr val="black"/>
                </a:solidFill>
              </a:rPr>
              <a:pPr/>
              <a:t>09/12/2016</a:t>
            </a:fld>
            <a:endParaRPr lang="en-GB" dirty="0">
              <a:solidFill>
                <a:prstClr val="black"/>
              </a:solidFill>
            </a:endParaRPr>
          </a:p>
        </p:txBody>
      </p:sp>
      <p:sp>
        <p:nvSpPr>
          <p:cNvPr id="4" name="Footer Placeholder 3"/>
          <p:cNvSpPr>
            <a:spLocks noGrp="1"/>
          </p:cNvSpPr>
          <p:nvPr>
            <p:ph type="ftr" sz="quarter" idx="11"/>
          </p:nvPr>
        </p:nvSpPr>
        <p:spPr>
          <a:xfrm>
            <a:off x="6187200" y="115200"/>
            <a:ext cx="5011200" cy="298800"/>
          </a:xfrm>
          <a:prstGeom prst="rect">
            <a:avLst/>
          </a:prstGeom>
        </p:spPr>
        <p:txBody>
          <a:bodyPr/>
          <a:lstStyle/>
          <a:p>
            <a:r>
              <a:rPr lang="en-GB" dirty="0" smtClean="0">
                <a:solidFill>
                  <a:prstClr val="black"/>
                </a:solidFill>
              </a:rPr>
              <a:t>Title of presentation |</a:t>
            </a:r>
            <a:endParaRPr lang="en-GB" dirty="0">
              <a:solidFill>
                <a:prstClr val="black"/>
              </a:solidFill>
            </a:endParaRPr>
          </a:p>
        </p:txBody>
      </p:sp>
      <p:sp>
        <p:nvSpPr>
          <p:cNvPr id="5" name="Slide Number Placeholder 4"/>
          <p:cNvSpPr>
            <a:spLocks noGrp="1"/>
          </p:cNvSpPr>
          <p:nvPr>
            <p:ph type="sldNum" sz="quarter" idx="12"/>
          </p:nvPr>
        </p:nvSpPr>
        <p:spPr/>
        <p:txBody>
          <a:bodyPr/>
          <a:lstStyle/>
          <a:p>
            <a:r>
              <a:rPr lang="en-GB" dirty="0" smtClean="0">
                <a:solidFill>
                  <a:prstClr val="black"/>
                </a:solidFill>
              </a:rPr>
              <a:t>page </a:t>
            </a:r>
            <a:fld id="{161BE2EA-AEDB-4948-88E1-594E5C4BF481}" type="slidenum">
              <a:rPr lang="en-GB" smtClean="0">
                <a:solidFill>
                  <a:prstClr val="black"/>
                </a:solidFill>
              </a:rPr>
              <a:pPr/>
              <a:t>‹#›</a:t>
            </a:fld>
            <a:endParaRPr lang="en-GB" dirty="0">
              <a:solidFill>
                <a:prstClr val="black"/>
              </a:solidFill>
            </a:endParaRPr>
          </a:p>
        </p:txBody>
      </p:sp>
      <p:sp>
        <p:nvSpPr>
          <p:cNvPr id="7" name="Content Placeholder 6"/>
          <p:cNvSpPr>
            <a:spLocks noGrp="1"/>
          </p:cNvSpPr>
          <p:nvPr>
            <p:ph sz="quarter" idx="13"/>
          </p:nvPr>
        </p:nvSpPr>
        <p:spPr>
          <a:xfrm>
            <a:off x="613832" y="1516064"/>
            <a:ext cx="9422400" cy="458152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330157361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322" y="274742"/>
            <a:ext cx="10973357" cy="1142499"/>
          </a:xfrm>
          <a:prstGeom prst="rect">
            <a:avLst/>
          </a:prstGeom>
        </p:spPr>
        <p:txBody>
          <a:bodyPr lIns="82954" tIns="41477" rIns="82954" bIns="41477"/>
          <a:lstStyle/>
          <a:p>
            <a:r>
              <a:rPr lang="en-US" smtClean="0"/>
              <a:t>Click to edit Master title style</a:t>
            </a:r>
            <a:endParaRPr lang="en-US"/>
          </a:p>
        </p:txBody>
      </p:sp>
      <p:sp>
        <p:nvSpPr>
          <p:cNvPr id="3" name="Table Placeholder 2"/>
          <p:cNvSpPr>
            <a:spLocks noGrp="1"/>
          </p:cNvSpPr>
          <p:nvPr>
            <p:ph type="tbl" idx="1"/>
          </p:nvPr>
        </p:nvSpPr>
        <p:spPr>
          <a:xfrm>
            <a:off x="609322" y="1600400"/>
            <a:ext cx="10973357" cy="4526461"/>
          </a:xfrm>
          <a:prstGeom prst="rect">
            <a:avLst/>
          </a:prstGeom>
        </p:spPr>
        <p:txBody>
          <a:bodyPr lIns="82954" tIns="41477" rIns="82954" bIns="41477"/>
          <a:lstStyle/>
          <a:p>
            <a:endParaRPr lang="en-US" dirty="0"/>
          </a:p>
        </p:txBody>
      </p:sp>
    </p:spTree>
    <p:extLst>
      <p:ext uri="{BB962C8B-B14F-4D97-AF65-F5344CB8AC3E}">
        <p14:creationId xmlns:p14="http://schemas.microsoft.com/office/powerpoint/2010/main" val="398603073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11" descr="Line 1_compr"/>
          <p:cNvSpPr>
            <a:spLocks/>
          </p:cNvSpPr>
          <p:nvPr/>
        </p:nvSpPr>
        <p:spPr bwMode="auto">
          <a:xfrm>
            <a:off x="190500" y="1114425"/>
            <a:ext cx="11804651" cy="5181600"/>
          </a:xfrm>
          <a:custGeom>
            <a:avLst/>
            <a:gdLst/>
            <a:ahLst/>
            <a:cxnLst>
              <a:cxn ang="0">
                <a:pos x="13467" y="9795"/>
              </a:cxn>
              <a:cxn ang="0">
                <a:pos x="13467" y="9249"/>
              </a:cxn>
              <a:cxn ang="0">
                <a:pos x="16731" y="9249"/>
              </a:cxn>
              <a:cxn ang="0">
                <a:pos x="16731" y="0"/>
              </a:cxn>
              <a:cxn ang="0">
                <a:pos x="0" y="0"/>
              </a:cxn>
              <a:cxn ang="0">
                <a:pos x="0" y="9800"/>
              </a:cxn>
              <a:cxn ang="0">
                <a:pos x="13467" y="9795"/>
              </a:cxn>
            </a:cxnLst>
            <a:rect l="0" t="0" r="r" b="b"/>
            <a:pathLst>
              <a:path w="16731" h="9800">
                <a:moveTo>
                  <a:pt x="13467" y="9795"/>
                </a:moveTo>
                <a:lnTo>
                  <a:pt x="13467" y="9249"/>
                </a:lnTo>
                <a:lnTo>
                  <a:pt x="16731" y="9249"/>
                </a:lnTo>
                <a:lnTo>
                  <a:pt x="16731" y="0"/>
                </a:lnTo>
                <a:lnTo>
                  <a:pt x="0" y="0"/>
                </a:lnTo>
                <a:lnTo>
                  <a:pt x="0" y="9800"/>
                </a:lnTo>
                <a:lnTo>
                  <a:pt x="13467" y="9795"/>
                </a:lnTo>
                <a:close/>
              </a:path>
            </a:pathLst>
          </a:custGeom>
          <a:blipFill dpi="0" rotWithShape="1">
            <a:blip r:embed="rId2" cstate="print"/>
            <a:srcRect/>
            <a:stretch>
              <a:fillRect/>
            </a:stretch>
          </a:blipFill>
          <a:ln w="9525">
            <a:noFill/>
            <a:round/>
            <a:headEnd/>
            <a:tailEnd/>
          </a:ln>
        </p:spPr>
        <p:txBody>
          <a:bodyPr lIns="91432" tIns="45717" rIns="91432" bIns="45717"/>
          <a:lstStyle/>
          <a:p>
            <a:pPr defTabSz="914323" fontAlgn="base">
              <a:lnSpc>
                <a:spcPct val="107000"/>
              </a:lnSpc>
              <a:spcBef>
                <a:spcPct val="0"/>
              </a:spcBef>
              <a:spcAft>
                <a:spcPct val="0"/>
              </a:spcAft>
              <a:defRPr/>
            </a:pPr>
            <a:endParaRPr lang="en-GB" sz="1400" dirty="0">
              <a:solidFill>
                <a:prstClr val="black"/>
              </a:solidFill>
            </a:endParaRPr>
          </a:p>
        </p:txBody>
      </p:sp>
      <p:sp>
        <p:nvSpPr>
          <p:cNvPr id="5" name="Rectangle 4"/>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pic>
        <p:nvPicPr>
          <p:cNvPr id="6" name="Picture 10" descr="Maersk_Line_Hvid baggrund"/>
          <p:cNvPicPr>
            <a:picLocks noChangeAspect="1" noChangeArrowheads="1"/>
          </p:cNvPicPr>
          <p:nvPr/>
        </p:nvPicPr>
        <p:blipFill>
          <a:blip r:embed="rId3" cstate="print"/>
          <a:srcRect/>
          <a:stretch>
            <a:fillRect/>
          </a:stretch>
        </p:blipFill>
        <p:spPr bwMode="auto">
          <a:xfrm>
            <a:off x="9698568" y="6013451"/>
            <a:ext cx="2493433" cy="844550"/>
          </a:xfrm>
          <a:prstGeom prst="rect">
            <a:avLst/>
          </a:prstGeom>
          <a:noFill/>
          <a:ln w="9525">
            <a:noFill/>
            <a:miter lim="800000"/>
            <a:headEnd/>
            <a:tailEnd/>
          </a:ln>
        </p:spPr>
      </p:pic>
      <p:sp>
        <p:nvSpPr>
          <p:cNvPr id="30723" name="Rectangle 3"/>
          <p:cNvSpPr>
            <a:spLocks noGrp="1" noChangeArrowheads="1"/>
          </p:cNvSpPr>
          <p:nvPr>
            <p:ph type="ctrTitle"/>
          </p:nvPr>
        </p:nvSpPr>
        <p:spPr>
          <a:xfrm>
            <a:off x="192620" y="1114427"/>
            <a:ext cx="11804649" cy="2079625"/>
          </a:xfrm>
          <a:solidFill>
            <a:schemeClr val="bg2">
              <a:alpha val="75000"/>
            </a:schemeClr>
          </a:solidFill>
        </p:spPr>
        <p:txBody>
          <a:bodyPr lIns="431963" tIns="143988" rIns="431963" bIns="143988"/>
          <a:lstStyle>
            <a:lvl1pPr>
              <a:lnSpc>
                <a:spcPct val="92000"/>
              </a:lnSpc>
              <a:defRPr sz="3200">
                <a:solidFill>
                  <a:schemeClr val="bg1"/>
                </a:solidFill>
              </a:defRPr>
            </a:lvl1pPr>
          </a:lstStyle>
          <a:p>
            <a:r>
              <a:rPr lang="en-GB"/>
              <a:t>Text</a:t>
            </a:r>
          </a:p>
        </p:txBody>
      </p:sp>
      <p:sp>
        <p:nvSpPr>
          <p:cNvPr id="30725" name="Rectangle 5"/>
          <p:cNvSpPr>
            <a:spLocks noGrp="1" noChangeArrowheads="1"/>
          </p:cNvSpPr>
          <p:nvPr>
            <p:ph type="subTitle" idx="1"/>
          </p:nvPr>
        </p:nvSpPr>
        <p:spPr>
          <a:xfrm>
            <a:off x="190500" y="287340"/>
            <a:ext cx="11804651" cy="827087"/>
          </a:xfrm>
          <a:solidFill>
            <a:schemeClr val="bg1"/>
          </a:solidFill>
        </p:spPr>
        <p:txBody>
          <a:bodyPr lIns="431963" tIns="143988" rIns="431963" bIns="143988"/>
          <a:lstStyle>
            <a:lvl1pPr marL="0" indent="0">
              <a:spcBef>
                <a:spcPct val="0"/>
              </a:spcBef>
              <a:buFontTx/>
              <a:buNone/>
              <a:defRPr sz="1000"/>
            </a:lvl1pPr>
          </a:lstStyle>
          <a:p>
            <a:r>
              <a:rPr lang="en-GB"/>
              <a:t>Text</a:t>
            </a:r>
          </a:p>
        </p:txBody>
      </p:sp>
    </p:spTree>
    <p:extLst>
      <p:ext uri="{BB962C8B-B14F-4D97-AF65-F5344CB8AC3E}">
        <p14:creationId xmlns:p14="http://schemas.microsoft.com/office/powerpoint/2010/main" val="1544018327"/>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8"/>
          <p:cNvSpPr>
            <a:spLocks noGrp="1" noChangeArrowheads="1"/>
          </p:cNvSpPr>
          <p:nvPr>
            <p:ph type="sldNum" sz="quarter" idx="11"/>
          </p:nvPr>
        </p:nvSpPr>
        <p:spPr>
          <a:xfrm>
            <a:off x="795867" y="6548440"/>
            <a:ext cx="728133" cy="179387"/>
          </a:xfrm>
          <a:ln/>
        </p:spPr>
        <p:txBody>
          <a:bodyPr/>
          <a:lstStyle>
            <a:lvl1pPr>
              <a:defRPr/>
            </a:lvl1pPr>
          </a:lstStyle>
          <a:p>
            <a:pPr>
              <a:defRPr/>
            </a:pPr>
            <a:fld id="{04F90D04-9D52-4E5A-AD11-0152D3003DA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16250408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lvl1pPr>
            <a:lvl2pPr marL="457162" indent="0">
              <a:buNone/>
              <a:defRPr sz="1800"/>
            </a:lvl2pPr>
            <a:lvl3pPr marL="914323" indent="0">
              <a:buNone/>
              <a:defRPr sz="1600"/>
            </a:lvl3pPr>
            <a:lvl4pPr marL="1371485" indent="0">
              <a:buNone/>
              <a:defRPr sz="1400"/>
            </a:lvl4pPr>
            <a:lvl5pPr marL="1828646" indent="0">
              <a:buNone/>
              <a:defRPr sz="1400"/>
            </a:lvl5pPr>
            <a:lvl6pPr marL="2285807" indent="0">
              <a:buNone/>
              <a:defRPr sz="1400"/>
            </a:lvl6pPr>
            <a:lvl7pPr marL="2742969" indent="0">
              <a:buNone/>
              <a:defRPr sz="1400"/>
            </a:lvl7pPr>
            <a:lvl8pPr marL="3200131" indent="0">
              <a:buNone/>
              <a:defRPr sz="1400"/>
            </a:lvl8pPr>
            <a:lvl9pPr marL="3657292" indent="0">
              <a:buNone/>
              <a:defRPr sz="1400"/>
            </a:lvl9pPr>
          </a:lstStyle>
          <a:p>
            <a:pPr lvl="0"/>
            <a:r>
              <a:rPr lang="en-US" smtClean="0"/>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fld id="{D3300F3C-18FF-4FA4-B3D9-063ED12C23AC}" type="datetime1">
              <a:rPr lang="en-GB">
                <a:solidFill>
                  <a:prstClr val="black"/>
                </a:solidFill>
              </a:rPr>
              <a:pPr>
                <a:defRPr/>
              </a:pPr>
              <a:t>09/12/2016</a:t>
            </a:fld>
            <a:endParaRPr lang="en-GB" dirty="0">
              <a:solidFill>
                <a:prstClr val="black"/>
              </a:solidFill>
            </a:endParaRPr>
          </a:p>
        </p:txBody>
      </p:sp>
      <p:sp>
        <p:nvSpPr>
          <p:cNvPr id="5" name="Rectangle 8"/>
          <p:cNvSpPr>
            <a:spLocks noGrp="1" noChangeArrowheads="1"/>
          </p:cNvSpPr>
          <p:nvPr>
            <p:ph type="sldNum" sz="quarter" idx="11"/>
          </p:nvPr>
        </p:nvSpPr>
        <p:spPr>
          <a:xfrm>
            <a:off x="1016000" y="6548440"/>
            <a:ext cx="1439333" cy="179387"/>
          </a:xfrm>
          <a:ln/>
        </p:spPr>
        <p:txBody>
          <a:bodyPr/>
          <a:lstStyle>
            <a:lvl1pPr>
              <a:defRPr/>
            </a:lvl1pPr>
          </a:lstStyle>
          <a:p>
            <a:pPr>
              <a:defRPr/>
            </a:pPr>
            <a:fld id="{6EBB85A0-89DB-4511-9056-62F16E9C49DA}"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3714152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766235" y="2085975"/>
            <a:ext cx="5223933"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93367" y="2085975"/>
            <a:ext cx="5226051"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dt" sz="half" idx="10"/>
          </p:nvPr>
        </p:nvSpPr>
        <p:spPr>
          <a:ln/>
        </p:spPr>
        <p:txBody>
          <a:bodyPr/>
          <a:lstStyle>
            <a:lvl1pPr>
              <a:defRPr/>
            </a:lvl1pPr>
          </a:lstStyle>
          <a:p>
            <a:pPr>
              <a:defRPr/>
            </a:pPr>
            <a:fld id="{573952F6-2EB1-4FEB-83BA-40B147D894DE}" type="datetime1">
              <a:rPr lang="en-GB">
                <a:solidFill>
                  <a:prstClr val="black"/>
                </a:solidFill>
              </a:rPr>
              <a:pPr>
                <a:defRPr/>
              </a:pPr>
              <a:t>09/12/2016</a:t>
            </a:fld>
            <a:endParaRPr lang="en-GB" dirty="0">
              <a:solidFill>
                <a:prstClr val="black"/>
              </a:solidFill>
            </a:endParaRPr>
          </a:p>
        </p:txBody>
      </p:sp>
      <p:sp>
        <p:nvSpPr>
          <p:cNvPr id="6" name="Rectangle 8"/>
          <p:cNvSpPr>
            <a:spLocks noGrp="1" noChangeArrowheads="1"/>
          </p:cNvSpPr>
          <p:nvPr>
            <p:ph type="sldNum" sz="quarter" idx="11"/>
          </p:nvPr>
        </p:nvSpPr>
        <p:spPr>
          <a:xfrm>
            <a:off x="795868" y="6548440"/>
            <a:ext cx="1439333" cy="179387"/>
          </a:xfrm>
          <a:ln/>
        </p:spPr>
        <p:txBody>
          <a:bodyPr/>
          <a:lstStyle>
            <a:lvl1pPr>
              <a:defRPr/>
            </a:lvl1pPr>
          </a:lstStyle>
          <a:p>
            <a:pPr>
              <a:defRPr/>
            </a:pPr>
            <a:fld id="{8DF5B4DA-382C-45B6-90A4-FE737DDAF4DF}"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9978069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Breaker_blue">
    <p:spTree>
      <p:nvGrpSpPr>
        <p:cNvPr id="1" name=""/>
        <p:cNvGrpSpPr/>
        <p:nvPr/>
      </p:nvGrpSpPr>
      <p:grpSpPr>
        <a:xfrm>
          <a:off x="0" y="0"/>
          <a:ext cx="0" cy="0"/>
          <a:chOff x="0" y="0"/>
          <a:chExt cx="0" cy="0"/>
        </a:xfrm>
      </p:grpSpPr>
      <p:sp>
        <p:nvSpPr>
          <p:cNvPr id="3" name="Rectangle 2"/>
          <p:cNvSpPr/>
          <p:nvPr userDrawn="1"/>
        </p:nvSpPr>
        <p:spPr>
          <a:xfrm>
            <a:off x="143256" y="139701"/>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2" name="Title 1"/>
          <p:cNvSpPr>
            <a:spLocks noGrp="1"/>
          </p:cNvSpPr>
          <p:nvPr>
            <p:ph type="title"/>
          </p:nvPr>
        </p:nvSpPr>
        <p:spPr>
          <a:xfrm>
            <a:off x="838200" y="3733800"/>
            <a:ext cx="9432000" cy="914400"/>
          </a:xfrm>
        </p:spPr>
        <p:txBody>
          <a:bodyPr anchor="ctr"/>
          <a:lstStyle>
            <a:lvl1pPr>
              <a:defRPr>
                <a:solidFill>
                  <a:schemeClr val="bg1"/>
                </a:solidFill>
              </a:defRPr>
            </a:lvl1pPr>
          </a:lstStyle>
          <a:p>
            <a:r>
              <a:rPr lang="en-GB" noProof="0" smtClean="0"/>
              <a:t>Click to edit Master title style</a:t>
            </a:r>
            <a:endParaRPr lang="en-GB" noProof="0" dirty="0"/>
          </a:p>
        </p:txBody>
      </p:sp>
      <p:pic>
        <p:nvPicPr>
          <p:cNvPr id="4"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3075661747"/>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2" y="1535114"/>
            <a:ext cx="5386917"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2"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69" y="1535114"/>
            <a:ext cx="5389033"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dt" sz="half" idx="10"/>
          </p:nvPr>
        </p:nvSpPr>
        <p:spPr>
          <a:ln/>
        </p:spPr>
        <p:txBody>
          <a:bodyPr/>
          <a:lstStyle>
            <a:lvl1pPr>
              <a:defRPr/>
            </a:lvl1pPr>
          </a:lstStyle>
          <a:p>
            <a:pPr>
              <a:defRPr/>
            </a:pPr>
            <a:fld id="{9458C793-CC38-4333-9AAD-4F38C34AD55F}" type="datetime1">
              <a:rPr lang="en-GB">
                <a:solidFill>
                  <a:prstClr val="black"/>
                </a:solidFill>
              </a:rPr>
              <a:pPr>
                <a:defRPr/>
              </a:pPr>
              <a:t>09/12/2016</a:t>
            </a:fld>
            <a:endParaRPr lang="en-GB" dirty="0">
              <a:solidFill>
                <a:prstClr val="black"/>
              </a:solidFill>
            </a:endParaRPr>
          </a:p>
        </p:txBody>
      </p:sp>
      <p:sp>
        <p:nvSpPr>
          <p:cNvPr id="8"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04222A2A-2BB7-402B-BFB2-0C6290F7AD5D}" type="slidenum">
              <a:rPr lang="en-GB">
                <a:solidFill>
                  <a:prstClr val="black"/>
                </a:solidFill>
              </a:rPr>
              <a:pPr>
                <a:defRPr/>
              </a:pPr>
              <a:t>‹#›</a:t>
            </a:fld>
            <a:endParaRPr lang="en-GB" dirty="0">
              <a:solidFill>
                <a:prstClr val="black"/>
              </a:solidFill>
            </a:endParaRPr>
          </a:p>
        </p:txBody>
      </p:sp>
      <p:sp>
        <p:nvSpPr>
          <p:cNvPr id="9" name="Rectangle 10"/>
          <p:cNvSpPr>
            <a:spLocks noGrp="1" noChangeArrowheads="1"/>
          </p:cNvSpPr>
          <p:nvPr>
            <p:ph type="ftr" sz="quarter" idx="12"/>
          </p:nvPr>
        </p:nvSpPr>
        <p:spPr>
          <a:xfrm>
            <a:off x="766235" y="6548440"/>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r>
              <a:rPr lang="en-GB" sz="1400" dirty="0" smtClean="0">
                <a:solidFill>
                  <a:prstClr val="black"/>
                </a:solidFill>
              </a:rPr>
              <a:t>Department</a:t>
            </a:r>
            <a:endParaRPr lang="en-GB" sz="1400" dirty="0">
              <a:solidFill>
                <a:prstClr val="black"/>
              </a:solidFill>
            </a:endParaRPr>
          </a:p>
        </p:txBody>
      </p:sp>
    </p:spTree>
    <p:extLst>
      <p:ext uri="{BB962C8B-B14F-4D97-AF65-F5344CB8AC3E}">
        <p14:creationId xmlns:p14="http://schemas.microsoft.com/office/powerpoint/2010/main" val="40328627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dt" sz="half" idx="10"/>
          </p:nvPr>
        </p:nvSpPr>
        <p:spPr>
          <a:ln/>
        </p:spPr>
        <p:txBody>
          <a:bodyPr/>
          <a:lstStyle>
            <a:lvl1pPr>
              <a:defRPr/>
            </a:lvl1pPr>
          </a:lstStyle>
          <a:p>
            <a:pPr>
              <a:defRPr/>
            </a:pPr>
            <a:fld id="{94EF84DD-2EC4-40EF-8E95-6CDFE36F92F7}" type="datetime1">
              <a:rPr lang="en-GB">
                <a:solidFill>
                  <a:prstClr val="black"/>
                </a:solidFill>
              </a:rPr>
              <a:pPr>
                <a:defRPr/>
              </a:pPr>
              <a:t>09/12/2016</a:t>
            </a:fld>
            <a:endParaRPr lang="en-GB" dirty="0">
              <a:solidFill>
                <a:prstClr val="black"/>
              </a:solidFill>
            </a:endParaRPr>
          </a:p>
        </p:txBody>
      </p:sp>
      <p:sp>
        <p:nvSpPr>
          <p:cNvPr id="4"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4B2DB91A-6E11-4993-A18E-DD7302448E9D}" type="slidenum">
              <a:rPr lang="en-GB">
                <a:solidFill>
                  <a:prstClr val="black"/>
                </a:solidFill>
              </a:rPr>
              <a:pPr>
                <a:defRPr/>
              </a:pPr>
              <a:t>‹#›</a:t>
            </a:fld>
            <a:endParaRPr lang="en-GB" dirty="0">
              <a:solidFill>
                <a:prstClr val="black"/>
              </a:solidFill>
            </a:endParaRPr>
          </a:p>
        </p:txBody>
      </p:sp>
      <p:sp>
        <p:nvSpPr>
          <p:cNvPr id="5" name="Rectangle 10"/>
          <p:cNvSpPr>
            <a:spLocks noGrp="1" noChangeArrowheads="1"/>
          </p:cNvSpPr>
          <p:nvPr>
            <p:ph type="ftr" sz="quarter" idx="12"/>
          </p:nvPr>
        </p:nvSpPr>
        <p:spPr>
          <a:xfrm>
            <a:off x="766235" y="6548440"/>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r>
              <a:rPr lang="en-GB" sz="1400" dirty="0" smtClean="0">
                <a:solidFill>
                  <a:prstClr val="black"/>
                </a:solidFill>
              </a:rPr>
              <a:t>Department</a:t>
            </a:r>
            <a:endParaRPr lang="en-GB" sz="1400" dirty="0">
              <a:solidFill>
                <a:prstClr val="black"/>
              </a:solidFill>
            </a:endParaRPr>
          </a:p>
        </p:txBody>
      </p:sp>
    </p:spTree>
    <p:extLst>
      <p:ext uri="{BB962C8B-B14F-4D97-AF65-F5344CB8AC3E}">
        <p14:creationId xmlns:p14="http://schemas.microsoft.com/office/powerpoint/2010/main" val="24847019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5466AEE3-C377-413B-8B1A-5AB07890BBE9}" type="datetime1">
              <a:rPr lang="en-GB">
                <a:solidFill>
                  <a:prstClr val="black"/>
                </a:solidFill>
              </a:rPr>
              <a:pPr>
                <a:defRPr/>
              </a:pPr>
              <a:t>09/12/2016</a:t>
            </a:fld>
            <a:endParaRPr lang="en-GB" dirty="0">
              <a:solidFill>
                <a:prstClr val="black"/>
              </a:solidFill>
            </a:endParaRPr>
          </a:p>
        </p:txBody>
      </p:sp>
      <p:sp>
        <p:nvSpPr>
          <p:cNvPr id="3"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F3107162-A752-4975-BA70-13144D023A41}" type="slidenum">
              <a:rPr lang="en-GB">
                <a:solidFill>
                  <a:prstClr val="black"/>
                </a:solidFill>
              </a:rPr>
              <a:pPr>
                <a:defRPr/>
              </a:pPr>
              <a:t>‹#›</a:t>
            </a:fld>
            <a:endParaRPr lang="en-GB" dirty="0">
              <a:solidFill>
                <a:prstClr val="black"/>
              </a:solidFill>
            </a:endParaRPr>
          </a:p>
        </p:txBody>
      </p:sp>
      <p:sp>
        <p:nvSpPr>
          <p:cNvPr id="4" name="Rectangle 10"/>
          <p:cNvSpPr>
            <a:spLocks noGrp="1" noChangeArrowheads="1"/>
          </p:cNvSpPr>
          <p:nvPr>
            <p:ph type="ftr" sz="quarter" idx="12"/>
          </p:nvPr>
        </p:nvSpPr>
        <p:spPr>
          <a:xfrm>
            <a:off x="766235" y="6548440"/>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r>
              <a:rPr lang="en-GB" sz="1400" dirty="0" smtClean="0">
                <a:solidFill>
                  <a:prstClr val="black"/>
                </a:solidFill>
              </a:rPr>
              <a:t>Department</a:t>
            </a:r>
            <a:endParaRPr lang="en-GB" sz="1400" dirty="0">
              <a:solidFill>
                <a:prstClr val="black"/>
              </a:solidFill>
            </a:endParaRPr>
          </a:p>
        </p:txBody>
      </p:sp>
    </p:spTree>
    <p:extLst>
      <p:ext uri="{BB962C8B-B14F-4D97-AF65-F5344CB8AC3E}">
        <p14:creationId xmlns:p14="http://schemas.microsoft.com/office/powerpoint/2010/main" val="47234878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F02A7F1D-6F90-466A-8E5A-C2122F00FFF6}" type="datetime1">
              <a:rPr lang="en-GB">
                <a:solidFill>
                  <a:prstClr val="black"/>
                </a:solidFill>
              </a:rPr>
              <a:pPr>
                <a:defRPr/>
              </a:pPr>
              <a:t>09/12/2016</a:t>
            </a:fld>
            <a:endParaRPr lang="en-GB" dirty="0">
              <a:solidFill>
                <a:prstClr val="black"/>
              </a:solidFill>
            </a:endParaRPr>
          </a:p>
        </p:txBody>
      </p:sp>
      <p:sp>
        <p:nvSpPr>
          <p:cNvPr id="6" name="Rectangle 8"/>
          <p:cNvSpPr>
            <a:spLocks noGrp="1" noChangeArrowheads="1"/>
          </p:cNvSpPr>
          <p:nvPr>
            <p:ph type="sldNum" sz="quarter" idx="11"/>
          </p:nvPr>
        </p:nvSpPr>
        <p:spPr>
          <a:xfrm>
            <a:off x="609600" y="6548440"/>
            <a:ext cx="1439333" cy="179387"/>
          </a:xfrm>
          <a:ln/>
        </p:spPr>
        <p:txBody>
          <a:bodyPr/>
          <a:lstStyle>
            <a:lvl1pPr>
              <a:defRPr/>
            </a:lvl1pPr>
          </a:lstStyle>
          <a:p>
            <a:pPr>
              <a:defRPr/>
            </a:pPr>
            <a:fld id="{6EEF1CB4-CB75-48A9-A5D7-0BCD2FBD806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47771643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62" indent="0">
              <a:buNone/>
              <a:defRPr sz="2800"/>
            </a:lvl2pPr>
            <a:lvl3pPr marL="914323" indent="0">
              <a:buNone/>
              <a:defRPr sz="2400"/>
            </a:lvl3pPr>
            <a:lvl4pPr marL="1371485" indent="0">
              <a:buNone/>
              <a:defRPr sz="2000"/>
            </a:lvl4pPr>
            <a:lvl5pPr marL="1828646" indent="0">
              <a:buNone/>
              <a:defRPr sz="2000"/>
            </a:lvl5pPr>
            <a:lvl6pPr marL="2285807" indent="0">
              <a:buNone/>
              <a:defRPr sz="2000"/>
            </a:lvl6pPr>
            <a:lvl7pPr marL="2742969" indent="0">
              <a:buNone/>
              <a:defRPr sz="2000"/>
            </a:lvl7pPr>
            <a:lvl8pPr marL="3200131" indent="0">
              <a:buNone/>
              <a:defRPr sz="2000"/>
            </a:lvl8pPr>
            <a:lvl9pPr marL="3657292" indent="0">
              <a:buNone/>
              <a:defRPr sz="2000"/>
            </a:lvl9pPr>
          </a:lstStyle>
          <a:p>
            <a:pPr lvl="0"/>
            <a:endParaRPr lang="en-GB"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fld id="{C8FCA947-EB5D-4A9E-B423-8DEB53B0187E}" type="datetime1">
              <a:rPr lang="en-GB">
                <a:solidFill>
                  <a:prstClr val="black"/>
                </a:solidFill>
              </a:rPr>
              <a:pPr>
                <a:defRPr/>
              </a:pPr>
              <a:t>09/12/2016</a:t>
            </a:fld>
            <a:endParaRPr lang="en-GB" dirty="0">
              <a:solidFill>
                <a:prstClr val="black"/>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5214A8E4-9391-410C-8C2E-7D2391239A4C}" type="slidenum">
              <a:rPr lang="en-GB">
                <a:solidFill>
                  <a:prstClr val="black"/>
                </a:solidFill>
              </a:rPr>
              <a:pPr>
                <a:defRPr/>
              </a:pPr>
              <a:t>‹#›</a:t>
            </a:fld>
            <a:endParaRPr lang="en-GB" dirty="0">
              <a:solidFill>
                <a:prstClr val="black"/>
              </a:solidFill>
            </a:endParaRPr>
          </a:p>
        </p:txBody>
      </p:sp>
      <p:sp>
        <p:nvSpPr>
          <p:cNvPr id="7" name="Rectangle 10"/>
          <p:cNvSpPr>
            <a:spLocks noGrp="1" noChangeArrowheads="1"/>
          </p:cNvSpPr>
          <p:nvPr>
            <p:ph type="ftr" sz="quarter" idx="12"/>
          </p:nvPr>
        </p:nvSpPr>
        <p:spPr>
          <a:xfrm>
            <a:off x="766235" y="6548440"/>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r>
              <a:rPr lang="en-GB" sz="1400" dirty="0" smtClean="0">
                <a:solidFill>
                  <a:prstClr val="black"/>
                </a:solidFill>
              </a:rPr>
              <a:t>Department</a:t>
            </a:r>
            <a:endParaRPr lang="en-GB" sz="1400" dirty="0">
              <a:solidFill>
                <a:prstClr val="black"/>
              </a:solidFill>
            </a:endParaRPr>
          </a:p>
        </p:txBody>
      </p:sp>
    </p:spTree>
    <p:extLst>
      <p:ext uri="{BB962C8B-B14F-4D97-AF65-F5344CB8AC3E}">
        <p14:creationId xmlns:p14="http://schemas.microsoft.com/office/powerpoint/2010/main" val="1689195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fld id="{1DE7CCF9-5D49-45D4-B49C-CB70863630C1}" type="datetime1">
              <a:rPr lang="en-GB">
                <a:solidFill>
                  <a:prstClr val="black"/>
                </a:solidFill>
              </a:rPr>
              <a:pPr>
                <a:defRPr/>
              </a:pPr>
              <a:t>09/12/2016</a:t>
            </a:fld>
            <a:endParaRPr lang="en-GB" dirty="0">
              <a:solidFill>
                <a:prstClr val="black"/>
              </a:solidFill>
            </a:endParaRPr>
          </a:p>
        </p:txBody>
      </p:sp>
      <p:sp>
        <p:nvSpPr>
          <p:cNvPr id="5" name="Rectangle 8"/>
          <p:cNvSpPr>
            <a:spLocks noGrp="1" noChangeArrowheads="1"/>
          </p:cNvSpPr>
          <p:nvPr>
            <p:ph type="sldNum" sz="quarter" idx="11"/>
          </p:nvPr>
        </p:nvSpPr>
        <p:spPr>
          <a:xfrm>
            <a:off x="795868" y="6548440"/>
            <a:ext cx="1439333" cy="179387"/>
          </a:xfrm>
          <a:ln/>
        </p:spPr>
        <p:txBody>
          <a:bodyPr/>
          <a:lstStyle>
            <a:lvl1pPr>
              <a:defRPr/>
            </a:lvl1pPr>
          </a:lstStyle>
          <a:p>
            <a:pPr>
              <a:defRPr/>
            </a:pPr>
            <a:fld id="{B1CA94DF-50B3-4B99-A764-FFB74B340EF4}"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53462385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651" y="287340"/>
            <a:ext cx="2662767" cy="55768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766236" y="287340"/>
            <a:ext cx="7787217" cy="55768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fld id="{116E3C39-077E-450A-93EB-125931E2522D}" type="datetime1">
              <a:rPr lang="en-GB">
                <a:solidFill>
                  <a:prstClr val="black"/>
                </a:solidFill>
              </a:rPr>
              <a:pPr>
                <a:defRPr/>
              </a:pPr>
              <a:t>09/12/2016</a:t>
            </a:fld>
            <a:endParaRPr lang="en-GB" dirty="0">
              <a:solidFill>
                <a:prstClr val="black"/>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383C5D11-C660-4228-9487-EA86CDCD4C3A}" type="slidenum">
              <a:rPr lang="en-GB">
                <a:solidFill>
                  <a:prstClr val="black"/>
                </a:solidFill>
              </a:rPr>
              <a:pPr>
                <a:defRPr/>
              </a:pPr>
              <a:t>‹#›</a:t>
            </a:fld>
            <a:endParaRPr lang="en-GB" dirty="0">
              <a:solidFill>
                <a:prstClr val="black"/>
              </a:solidFill>
            </a:endParaRPr>
          </a:p>
        </p:txBody>
      </p:sp>
      <p:sp>
        <p:nvSpPr>
          <p:cNvPr id="6" name="Rectangle 10"/>
          <p:cNvSpPr>
            <a:spLocks noGrp="1" noChangeArrowheads="1"/>
          </p:cNvSpPr>
          <p:nvPr>
            <p:ph type="ftr" sz="quarter" idx="12"/>
          </p:nvPr>
        </p:nvSpPr>
        <p:spPr>
          <a:xfrm>
            <a:off x="766235" y="6548440"/>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r>
              <a:rPr lang="en-GB" sz="1400" dirty="0" smtClean="0">
                <a:solidFill>
                  <a:prstClr val="black"/>
                </a:solidFill>
              </a:rPr>
              <a:t>Department</a:t>
            </a:r>
            <a:endParaRPr lang="en-GB" sz="1400" dirty="0">
              <a:solidFill>
                <a:prstClr val="black"/>
              </a:solidFill>
            </a:endParaRPr>
          </a:p>
        </p:txBody>
      </p:sp>
    </p:spTree>
    <p:extLst>
      <p:ext uri="{BB962C8B-B14F-4D97-AF65-F5344CB8AC3E}">
        <p14:creationId xmlns:p14="http://schemas.microsoft.com/office/powerpoint/2010/main" val="1582586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Breaker_white">
    <p:spTree>
      <p:nvGrpSpPr>
        <p:cNvPr id="1" name=""/>
        <p:cNvGrpSpPr/>
        <p:nvPr/>
      </p:nvGrpSpPr>
      <p:grpSpPr>
        <a:xfrm>
          <a:off x="0" y="0"/>
          <a:ext cx="0" cy="0"/>
          <a:chOff x="0" y="0"/>
          <a:chExt cx="0" cy="0"/>
        </a:xfrm>
      </p:grpSpPr>
      <p:sp>
        <p:nvSpPr>
          <p:cNvPr id="2" name="Title 1"/>
          <p:cNvSpPr>
            <a:spLocks noGrp="1"/>
          </p:cNvSpPr>
          <p:nvPr>
            <p:ph type="title"/>
          </p:nvPr>
        </p:nvSpPr>
        <p:spPr>
          <a:xfrm>
            <a:off x="838200" y="3733800"/>
            <a:ext cx="9432000" cy="914400"/>
          </a:xfrm>
        </p:spPr>
        <p:txBody>
          <a:bodyPr anchor="ctr"/>
          <a:lstStyle>
            <a:lvl1pPr>
              <a:defRPr>
                <a:solidFill>
                  <a:schemeClr val="tx1"/>
                </a:solidFill>
              </a:defRPr>
            </a:lvl1pPr>
          </a:lstStyle>
          <a:p>
            <a:r>
              <a:rPr lang="en-GB" noProof="0" smtClean="0"/>
              <a:t>Click to edit Master title style</a:t>
            </a:r>
            <a:endParaRPr lang="en-GB" noProof="0" dirty="0"/>
          </a:p>
        </p:txBody>
      </p:sp>
      <p:pic>
        <p:nvPicPr>
          <p:cNvPr id="4"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38198381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smtClean="0"/>
              <a:t>Click to edit Master title style</a:t>
            </a:r>
            <a:endParaRPr lang="en-GB" noProof="0" dirty="0"/>
          </a:p>
        </p:txBody>
      </p:sp>
      <p:sp>
        <p:nvSpPr>
          <p:cNvPr id="3" name="Content Placeholder 2"/>
          <p:cNvSpPr>
            <a:spLocks noGrp="1"/>
          </p:cNvSpPr>
          <p:nvPr>
            <p:ph sz="half" idx="1"/>
          </p:nvPr>
        </p:nvSpPr>
        <p:spPr>
          <a:xfrm>
            <a:off x="609599" y="1516063"/>
            <a:ext cx="5399617"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dirty="0"/>
          </a:p>
        </p:txBody>
      </p:sp>
      <p:sp>
        <p:nvSpPr>
          <p:cNvPr id="4" name="Content Placeholder 3"/>
          <p:cNvSpPr>
            <a:spLocks noGrp="1"/>
          </p:cNvSpPr>
          <p:nvPr>
            <p:ph sz="half" idx="2"/>
          </p:nvPr>
        </p:nvSpPr>
        <p:spPr>
          <a:xfrm>
            <a:off x="6189133" y="1516063"/>
            <a:ext cx="5400000"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dirty="0"/>
          </a:p>
        </p:txBody>
      </p:sp>
    </p:spTree>
    <p:extLst>
      <p:ext uri="{BB962C8B-B14F-4D97-AF65-F5344CB8AC3E}">
        <p14:creationId xmlns:p14="http://schemas.microsoft.com/office/powerpoint/2010/main" val="141423164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830450"/>
          </a:xfrm>
        </p:spPr>
        <p:txBody>
          <a:bodyPr/>
          <a:lstStyle>
            <a:lvl1pPr>
              <a:defRPr sz="2200">
                <a:solidFill>
                  <a:schemeClr val="tx1"/>
                </a:solidFill>
              </a:defRPr>
            </a:lvl1pPr>
          </a:lstStyle>
          <a:p>
            <a:r>
              <a:rPr lang="en-GB" noProof="0" smtClean="0"/>
              <a:t>Click to edit Master title style</a:t>
            </a:r>
            <a:endParaRPr lang="en-GB" noProof="0" dirty="0"/>
          </a:p>
        </p:txBody>
      </p:sp>
      <p:sp>
        <p:nvSpPr>
          <p:cNvPr id="7" name="Picture Placeholder 6"/>
          <p:cNvSpPr>
            <a:spLocks noGrp="1"/>
          </p:cNvSpPr>
          <p:nvPr>
            <p:ph type="pic" sz="quarter" idx="13"/>
          </p:nvPr>
        </p:nvSpPr>
        <p:spPr>
          <a:xfrm>
            <a:off x="609600" y="478110"/>
            <a:ext cx="5399616" cy="5543128"/>
          </a:xfrm>
        </p:spPr>
        <p:txBody>
          <a:bodyPr/>
          <a:lstStyle>
            <a:lvl1pPr marL="0" indent="0">
              <a:buNone/>
              <a:defRPr/>
            </a:lvl1pPr>
          </a:lstStyle>
          <a:p>
            <a:r>
              <a:rPr lang="en-US" noProof="0" dirty="0" smtClean="0"/>
              <a:t>Click icon to add picture</a:t>
            </a:r>
            <a:endParaRPr lang="en-GB" noProof="0" dirty="0"/>
          </a:p>
        </p:txBody>
      </p:sp>
      <p:sp>
        <p:nvSpPr>
          <p:cNvPr id="11" name="Content Placeholder 10"/>
          <p:cNvSpPr>
            <a:spLocks noGrp="1"/>
          </p:cNvSpPr>
          <p:nvPr>
            <p:ph sz="quarter" idx="14"/>
          </p:nvPr>
        </p:nvSpPr>
        <p:spPr>
          <a:xfrm>
            <a:off x="6504000" y="1724399"/>
            <a:ext cx="5073600" cy="42968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dirty="0"/>
          </a:p>
        </p:txBody>
      </p:sp>
    </p:spTree>
    <p:extLst>
      <p:ext uri="{BB962C8B-B14F-4D97-AF65-F5344CB8AC3E}">
        <p14:creationId xmlns:p14="http://schemas.microsoft.com/office/powerpoint/2010/main" val="431202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lvl1pPr marL="0" indent="0">
              <a:buNone/>
              <a:defRPr/>
            </a:lvl1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117231972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7" name="Rectangle 6"/>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8065"/>
            <a:ext cx="5310717" cy="4776296"/>
          </a:xfrm>
        </p:spPr>
        <p:txBody>
          <a:bodyPr/>
          <a:lstStyle>
            <a:lvl1pPr>
              <a:defRPr>
                <a:solidFill>
                  <a:schemeClr val="tx1"/>
                </a:solidFill>
              </a:defRPr>
            </a:lvl1pPr>
          </a:lstStyle>
          <a:p>
            <a:pPr lvl="0" eaLnBrk="1" hangingPunct="1"/>
            <a:r>
              <a:rPr lang="en-GB" smtClean="0"/>
              <a:t>Click to edit Master text styles</a:t>
            </a:r>
          </a:p>
        </p:txBody>
      </p:sp>
      <p:sp>
        <p:nvSpPr>
          <p:cNvPr id="8" name="Rectangle 2"/>
          <p:cNvSpPr>
            <a:spLocks noGrp="1" noChangeArrowheads="1"/>
          </p:cNvSpPr>
          <p:nvPr>
            <p:ph type="title"/>
          </p:nvPr>
        </p:nvSpPr>
        <p:spPr>
          <a:xfrm>
            <a:off x="609600" y="502203"/>
            <a:ext cx="5310717" cy="919161"/>
          </a:xfrm>
        </p:spPr>
        <p:txBody>
          <a:bodyPr/>
          <a:lstStyle>
            <a:lvl1pPr>
              <a:defRPr sz="2200">
                <a:solidFill>
                  <a:schemeClr val="tx1"/>
                </a:solidFill>
              </a:defRPr>
            </a:lvl1pPr>
          </a:lstStyle>
          <a:p>
            <a:pPr eaLnBrk="1" hangingPunct="1"/>
            <a:r>
              <a:rPr lang="en-GB" smtClean="0"/>
              <a:t>Click to edit Master title style</a:t>
            </a:r>
            <a:endParaRPr lang="en-GB" dirty="0" smtClean="0"/>
          </a:p>
        </p:txBody>
      </p:sp>
      <p:sp>
        <p:nvSpPr>
          <p:cNvPr id="9"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US" dirty="0" smtClean="0"/>
              <a:t>Click icon to add picture</a:t>
            </a:r>
            <a:endParaRPr lang="en-GB" dirty="0"/>
          </a:p>
        </p:txBody>
      </p:sp>
    </p:spTree>
    <p:extLst>
      <p:ext uri="{BB962C8B-B14F-4D97-AF65-F5344CB8AC3E}">
        <p14:creationId xmlns:p14="http://schemas.microsoft.com/office/powerpoint/2010/main" val="286566336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Rectangle 5"/>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5" name="Rectangle 4"/>
          <p:cNvSpPr/>
          <p:nvPr userDrawn="1"/>
        </p:nvSpPr>
        <p:spPr>
          <a:xfrm>
            <a:off x="9674034" y="228599"/>
            <a:ext cx="2311400" cy="246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7"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r>
              <a:rPr lang="en-US" dirty="0" smtClean="0"/>
              <a:t>Click icon to add picture</a:t>
            </a:r>
            <a:endParaRPr lang="da-DK" dirty="0"/>
          </a:p>
        </p:txBody>
      </p:sp>
    </p:spTree>
    <p:extLst>
      <p:ext uri="{BB962C8B-B14F-4D97-AF65-F5344CB8AC3E}">
        <p14:creationId xmlns:p14="http://schemas.microsoft.com/office/powerpoint/2010/main" val="357222486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3312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38"/>
            <a:ext cx="10653184" cy="1512887"/>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766233" y="2085975"/>
            <a:ext cx="10653184" cy="3778250"/>
          </a:xfrm>
        </p:spPr>
        <p:txBody>
          <a:bodyPr/>
          <a:lstStyle/>
          <a:p>
            <a:pPr lvl="0"/>
            <a:endParaRPr lang="en-US" noProof="0" dirty="0" smtClean="0"/>
          </a:p>
        </p:txBody>
      </p:sp>
      <p:sp>
        <p:nvSpPr>
          <p:cNvPr id="4" name="Rectangle 6"/>
          <p:cNvSpPr>
            <a:spLocks noGrp="1" noChangeArrowheads="1"/>
          </p:cNvSpPr>
          <p:nvPr>
            <p:ph type="dt" sz="half" idx="10"/>
          </p:nvPr>
        </p:nvSpPr>
        <p:spPr>
          <a:xfrm>
            <a:off x="4692651" y="6548442"/>
            <a:ext cx="3996267" cy="179387"/>
          </a:xfrm>
          <a:prstGeom prst="rect">
            <a:avLst/>
          </a:prstGeom>
        </p:spPr>
        <p:txBody>
          <a:bodyPr/>
          <a:lstStyle>
            <a:lvl1pPr defTabSz="914400">
              <a:defRPr>
                <a:solidFill>
                  <a:srgbClr val="000000"/>
                </a:solidFill>
                <a:latin typeface="Arial" charset="0"/>
              </a:defRPr>
            </a:lvl1pPr>
          </a:lstStyle>
          <a:p>
            <a:pPr>
              <a:defRPr/>
            </a:pPr>
            <a:r>
              <a:rPr lang="en-US" dirty="0"/>
              <a:t>10/25/2011</a:t>
            </a:r>
            <a:endParaRPr lang="en-GB" dirty="0"/>
          </a:p>
        </p:txBody>
      </p:sp>
      <p:sp>
        <p:nvSpPr>
          <p:cNvPr id="5" name="Footer Placeholder 4"/>
          <p:cNvSpPr>
            <a:spLocks noGrp="1" noChangeArrowheads="1"/>
          </p:cNvSpPr>
          <p:nvPr>
            <p:ph type="ftr" sz="quarter" idx="11"/>
          </p:nvPr>
        </p:nvSpPr>
        <p:spPr>
          <a:xfrm>
            <a:off x="766233" y="6548439"/>
            <a:ext cx="2161117" cy="179387"/>
          </a:xfrm>
          <a:prstGeom prst="rect">
            <a:avLst/>
          </a:prstGeom>
        </p:spPr>
        <p:txBody>
          <a:bodyPr/>
          <a:lstStyle>
            <a:lvl1pPr fontAlgn="auto">
              <a:spcBef>
                <a:spcPts val="0"/>
              </a:spcBef>
              <a:spcAft>
                <a:spcPts val="0"/>
              </a:spcAft>
              <a:defRPr>
                <a:solidFill>
                  <a:srgbClr val="000000"/>
                </a:solidFill>
                <a:latin typeface="Verdana"/>
              </a:defRPr>
            </a:lvl1pPr>
          </a:lstStyle>
          <a:p>
            <a:pPr>
              <a:defRPr/>
            </a:pPr>
            <a:endParaRPr lang="en-GB" dirty="0"/>
          </a:p>
        </p:txBody>
      </p:sp>
    </p:spTree>
    <p:extLst>
      <p:ext uri="{BB962C8B-B14F-4D97-AF65-F5344CB8AC3E}">
        <p14:creationId xmlns:p14="http://schemas.microsoft.com/office/powerpoint/2010/main" val="42484662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Punkter med 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7" name="Pladsholder til tekst 6"/>
          <p:cNvSpPr>
            <a:spLocks noGrp="1"/>
          </p:cNvSpPr>
          <p:nvPr>
            <p:ph type="body" sz="quarter" idx="13"/>
          </p:nvPr>
        </p:nvSpPr>
        <p:spPr>
          <a:xfrm>
            <a:off x="766233" y="2085976"/>
            <a:ext cx="7442200" cy="334963"/>
          </a:xfrm>
        </p:spPr>
        <p:txBody>
          <a:bodyPr/>
          <a:lstStyle>
            <a:lvl1pPr marL="0" indent="0">
              <a:buNone/>
              <a:defRPr>
                <a:latin typeface="Zetta Serif Bold"/>
                <a:cs typeface="Zetta Serif Bold"/>
              </a:defRPr>
            </a:lvl1pPr>
          </a:lstStyle>
          <a:p>
            <a:pPr lvl="0"/>
            <a:r>
              <a:rPr lang="da-DK" dirty="0" smtClean="0"/>
              <a:t>Klik for at redigere teksttypografierne i masteren</a:t>
            </a:r>
          </a:p>
        </p:txBody>
      </p:sp>
      <p:sp>
        <p:nvSpPr>
          <p:cNvPr id="8" name="Pladsholder til tekst 6"/>
          <p:cNvSpPr>
            <a:spLocks noGrp="1"/>
          </p:cNvSpPr>
          <p:nvPr>
            <p:ph type="body" sz="quarter" idx="14"/>
          </p:nvPr>
        </p:nvSpPr>
        <p:spPr>
          <a:xfrm>
            <a:off x="766233" y="2420889"/>
            <a:ext cx="7442200" cy="334963"/>
          </a:xfrm>
        </p:spPr>
        <p:txBody>
          <a:bodyPr/>
          <a:lstStyle>
            <a:lvl1pPr marL="0" indent="0">
              <a:buNone/>
              <a:defRPr>
                <a:solidFill>
                  <a:srgbClr val="7AC4DE"/>
                </a:solidFill>
                <a:latin typeface="Zetta Serif Light italic"/>
                <a:cs typeface="Zetta Serif Light italic"/>
              </a:defRPr>
            </a:lvl1pPr>
          </a:lstStyle>
          <a:p>
            <a:pPr lvl="0"/>
            <a:r>
              <a:rPr lang="da-DK" dirty="0" smtClean="0"/>
              <a:t>Klik for at redigere teksttypografierne i masteren</a:t>
            </a:r>
          </a:p>
        </p:txBody>
      </p:sp>
      <p:sp>
        <p:nvSpPr>
          <p:cNvPr id="9" name="Pladsholder til tekst 6"/>
          <p:cNvSpPr>
            <a:spLocks noGrp="1"/>
          </p:cNvSpPr>
          <p:nvPr>
            <p:ph type="body" sz="quarter" idx="15"/>
          </p:nvPr>
        </p:nvSpPr>
        <p:spPr>
          <a:xfrm>
            <a:off x="766233" y="3140968"/>
            <a:ext cx="9362215" cy="1112851"/>
          </a:xfrm>
        </p:spPr>
        <p:txBody>
          <a:bodyPr anchor="b"/>
          <a:lstStyle>
            <a:lvl1pPr marL="0" indent="0">
              <a:buNone/>
              <a:defRPr sz="3800">
                <a:solidFill>
                  <a:schemeClr val="bg1"/>
                </a:solidFill>
                <a:latin typeface="Zetta Serif Light"/>
                <a:cs typeface="Zetta Serif Light"/>
              </a:defRPr>
            </a:lvl1pPr>
          </a:lstStyle>
          <a:p>
            <a:pPr lvl="0"/>
            <a:r>
              <a:rPr lang="da-DK" dirty="0" smtClean="0"/>
              <a:t>Klik for at redigere teksttypografierne i masteren</a:t>
            </a:r>
          </a:p>
        </p:txBody>
      </p:sp>
      <p:sp>
        <p:nvSpPr>
          <p:cNvPr id="11" name="Pladsholder til tekst 10"/>
          <p:cNvSpPr>
            <a:spLocks noGrp="1"/>
          </p:cNvSpPr>
          <p:nvPr>
            <p:ph type="body" sz="quarter" idx="16"/>
          </p:nvPr>
        </p:nvSpPr>
        <p:spPr>
          <a:xfrm>
            <a:off x="766234" y="4365626"/>
            <a:ext cx="9362213" cy="1871663"/>
          </a:xfrm>
        </p:spPr>
        <p:txBody>
          <a:bodyPr/>
          <a:lstStyle>
            <a:lvl1pPr marL="342900" indent="-342900">
              <a:buClr>
                <a:srgbClr val="7AC4DE"/>
              </a:buClr>
              <a:buSzPct val="100000"/>
              <a:buFont typeface="+mj-lt"/>
              <a:buAutoNum type="arabicPeriod"/>
              <a:defRPr/>
            </a:lvl1pPr>
            <a:lvl2pPr marL="550863" indent="-342900">
              <a:buClr>
                <a:srgbClr val="7AC4DE"/>
              </a:buClr>
              <a:buSzPct val="100000"/>
              <a:buFont typeface="+mj-lt"/>
              <a:buAutoNum type="arabicPeriod"/>
              <a:defRPr/>
            </a:lvl2pPr>
            <a:lvl3pPr marL="765175" indent="-342900">
              <a:buClr>
                <a:srgbClr val="7AC4DE"/>
              </a:buClr>
              <a:buSzPct val="100000"/>
              <a:buFont typeface="+mj-lt"/>
              <a:buAutoNum type="arabicPeriod"/>
              <a:defRPr/>
            </a:lvl3pPr>
            <a:lvl4pPr marL="985838" indent="-342900">
              <a:buClr>
                <a:srgbClr val="7AC4DE"/>
              </a:buClr>
              <a:buSzPct val="100000"/>
              <a:buFont typeface="+mj-lt"/>
              <a:buAutoNum type="arabicPeriod"/>
              <a:defRPr/>
            </a:lvl4pPr>
            <a:lvl5pPr marL="1200150" indent="-342900">
              <a:buClr>
                <a:srgbClr val="7AC4DE"/>
              </a:buClr>
              <a:buSzPct val="100000"/>
              <a:buFont typeface="+mj-lt"/>
              <a:buAutoNum type="arabicPeriod"/>
              <a:defRPr/>
            </a:lvl5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10" name="Rectangle 6"/>
          <p:cNvSpPr>
            <a:spLocks noGrp="1" noChangeArrowheads="1"/>
          </p:cNvSpPr>
          <p:nvPr>
            <p:ph type="dt" sz="half" idx="17"/>
          </p:nvPr>
        </p:nvSpPr>
        <p:spPr>
          <a:xfrm>
            <a:off x="4692651" y="6548442"/>
            <a:ext cx="3996267" cy="179387"/>
          </a:xfrm>
          <a:prstGeom prst="rect">
            <a:avLst/>
          </a:prstGeom>
          <a:ln/>
        </p:spPr>
        <p:txBody>
          <a:bodyPr/>
          <a:lstStyle>
            <a:lvl1pPr>
              <a:defRPr/>
            </a:lvl1pPr>
          </a:lstStyle>
          <a:p>
            <a:fld id="{C34062EC-5C07-4767-B52F-C093E37CEA5A}" type="datetime1">
              <a:rPr lang="en-GB">
                <a:solidFill>
                  <a:srgbClr val="000000"/>
                </a:solidFill>
              </a:rPr>
              <a:pPr/>
              <a:t>09/12/2016</a:t>
            </a:fld>
            <a:endParaRPr lang="en-GB" dirty="0">
              <a:solidFill>
                <a:srgbClr val="000000"/>
              </a:solidFill>
            </a:endParaRPr>
          </a:p>
        </p:txBody>
      </p:sp>
      <p:sp>
        <p:nvSpPr>
          <p:cNvPr id="12" name="Rectangle 8"/>
          <p:cNvSpPr>
            <a:spLocks noGrp="1" noChangeArrowheads="1"/>
          </p:cNvSpPr>
          <p:nvPr>
            <p:ph type="sldNum" sz="quarter" idx="18"/>
          </p:nvPr>
        </p:nvSpPr>
        <p:spPr>
          <a:xfrm>
            <a:off x="3069167" y="6548442"/>
            <a:ext cx="1439333" cy="179387"/>
          </a:xfrm>
          <a:prstGeom prst="rect">
            <a:avLst/>
          </a:prstGeom>
          <a:ln/>
        </p:spPr>
        <p:txBody>
          <a:bodyPr/>
          <a:lstStyle>
            <a:lvl1pPr>
              <a:defRPr/>
            </a:lvl1pPr>
          </a:lstStyle>
          <a:p>
            <a:r>
              <a:rPr lang="en-GB" dirty="0">
                <a:solidFill>
                  <a:srgbClr val="000000"/>
                </a:solidFill>
              </a:rPr>
              <a:t>Slide no. </a:t>
            </a:r>
            <a:fld id="{B21E5947-B445-4948-8A1E-D1CDCE73D4C3}" type="slidenum">
              <a:rPr lang="en-GB">
                <a:solidFill>
                  <a:srgbClr val="000000"/>
                </a:solidFill>
              </a:rPr>
              <a:pPr/>
              <a:t>‹#›</a:t>
            </a:fld>
            <a:endParaRPr lang="en-GB" dirty="0">
              <a:solidFill>
                <a:srgbClr val="000000"/>
              </a:solidFill>
            </a:endParaRPr>
          </a:p>
        </p:txBody>
      </p:sp>
      <p:sp>
        <p:nvSpPr>
          <p:cNvPr id="13" name="Rectangle 11"/>
          <p:cNvSpPr>
            <a:spLocks noGrp="1" noChangeArrowheads="1"/>
          </p:cNvSpPr>
          <p:nvPr>
            <p:ph type="ftr" sz="quarter" idx="19"/>
          </p:nvPr>
        </p:nvSpPr>
        <p:spPr>
          <a:xfrm>
            <a:off x="766238" y="6548442"/>
            <a:ext cx="2161119" cy="179387"/>
          </a:xfrm>
          <a:prstGeom prst="rect">
            <a:avLst/>
          </a:prstGeom>
          <a:ln/>
        </p:spPr>
        <p:txBody>
          <a:bodyPr/>
          <a:lstStyle>
            <a:lvl1pPr>
              <a:defRPr/>
            </a:lvl1pPr>
          </a:lstStyle>
          <a:p>
            <a:pPr>
              <a:defRPr/>
            </a:pPr>
            <a:r>
              <a:rPr lang="en-GB" dirty="0">
                <a:solidFill>
                  <a:srgbClr val="000000"/>
                </a:solidFill>
              </a:rPr>
              <a:t>Department</a:t>
            </a:r>
          </a:p>
        </p:txBody>
      </p:sp>
    </p:spTree>
    <p:extLst>
      <p:ext uri="{BB962C8B-B14F-4D97-AF65-F5344CB8AC3E}">
        <p14:creationId xmlns:p14="http://schemas.microsoft.com/office/powerpoint/2010/main" val="6347826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38"/>
            <a:ext cx="10653184" cy="15128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66234" y="2085975"/>
            <a:ext cx="5223933"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3367" y="2085975"/>
            <a:ext cx="5226051"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dt" sz="half" idx="10"/>
          </p:nvPr>
        </p:nvSpPr>
        <p:spPr>
          <a:xfrm>
            <a:off x="4692652" y="6548442"/>
            <a:ext cx="3996267" cy="179387"/>
          </a:xfrm>
          <a:prstGeom prst="rect">
            <a:avLst/>
          </a:prstGeom>
          <a:ln/>
        </p:spPr>
        <p:txBody>
          <a:bodyPr/>
          <a:lstStyle>
            <a:lvl1pPr>
              <a:defRPr/>
            </a:lvl1pPr>
          </a:lstStyle>
          <a:p>
            <a:pPr>
              <a:defRPr/>
            </a:pPr>
            <a:endParaRPr lang="en-GB" dirty="0"/>
          </a:p>
        </p:txBody>
      </p:sp>
      <p:sp>
        <p:nvSpPr>
          <p:cNvPr id="6" name="Rectangle 10"/>
          <p:cNvSpPr>
            <a:spLocks noGrp="1" noChangeArrowheads="1"/>
          </p:cNvSpPr>
          <p:nvPr>
            <p:ph type="ftr" sz="quarter" idx="11"/>
          </p:nvPr>
        </p:nvSpPr>
        <p:spPr>
          <a:xfrm>
            <a:off x="766236" y="6548441"/>
            <a:ext cx="2161119" cy="179387"/>
          </a:xfrm>
          <a:prstGeom prst="rect">
            <a:avLst/>
          </a:prstGeom>
          <a:ln/>
        </p:spPr>
        <p:txBody>
          <a:bodyPr/>
          <a:lstStyle>
            <a:lvl1pPr>
              <a:defRPr/>
            </a:lvl1pPr>
          </a:lstStyle>
          <a:p>
            <a:pPr>
              <a:defRPr/>
            </a:pPr>
            <a:r>
              <a:rPr lang="en-GB" dirty="0" smtClean="0"/>
              <a:t>LOC Staff 4/2013</a:t>
            </a:r>
            <a:endParaRPr lang="en-GB" dirty="0"/>
          </a:p>
        </p:txBody>
      </p:sp>
    </p:spTree>
    <p:extLst>
      <p:ext uri="{BB962C8B-B14F-4D97-AF65-F5344CB8AC3E}">
        <p14:creationId xmlns:p14="http://schemas.microsoft.com/office/powerpoint/2010/main" val="12008286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Tree>
    <p:extLst>
      <p:ext uri="{BB962C8B-B14F-4D97-AF65-F5344CB8AC3E}">
        <p14:creationId xmlns:p14="http://schemas.microsoft.com/office/powerpoint/2010/main" val="40010512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reak title and subtitle">
    <p:spTree>
      <p:nvGrpSpPr>
        <p:cNvPr id="1" name=""/>
        <p:cNvGrpSpPr/>
        <p:nvPr/>
      </p:nvGrpSpPr>
      <p:grpSpPr>
        <a:xfrm>
          <a:off x="0" y="0"/>
          <a:ext cx="0" cy="0"/>
          <a:chOff x="0" y="0"/>
          <a:chExt cx="0" cy="0"/>
        </a:xfrm>
      </p:grpSpPr>
      <p:sp>
        <p:nvSpPr>
          <p:cNvPr id="3" name="Title 1"/>
          <p:cNvSpPr>
            <a:spLocks noGrp="1"/>
          </p:cNvSpPr>
          <p:nvPr>
            <p:ph type="ctrTitle"/>
          </p:nvPr>
        </p:nvSpPr>
        <p:spPr>
          <a:xfrm>
            <a:off x="657600" y="3347660"/>
            <a:ext cx="6047999" cy="1376739"/>
          </a:xfrm>
        </p:spPr>
        <p:txBody>
          <a:bodyPr lIns="90000" tIns="46800" rIns="90000" bIns="46800" anchor="b" anchorCtr="0"/>
          <a:lstStyle>
            <a:lvl1pPr>
              <a:lnSpc>
                <a:spcPct val="70000"/>
              </a:lnSpc>
              <a:defRPr sz="3800" cap="all" baseline="0">
                <a:solidFill>
                  <a:schemeClr val="bg1"/>
                </a:solidFill>
                <a:latin typeface="Zetta Serif Poster" panose="02060503060000020004" pitchFamily="18" charset="0"/>
              </a:defRPr>
            </a:lvl1pPr>
          </a:lstStyle>
          <a:p>
            <a:r>
              <a:rPr lang="en-US" noProof="0" dirty="0" smtClean="0"/>
              <a:t>Click to edit Master title style</a:t>
            </a:r>
            <a:endParaRPr lang="en-GB" noProof="0" dirty="0"/>
          </a:p>
        </p:txBody>
      </p:sp>
      <p:sp>
        <p:nvSpPr>
          <p:cNvPr id="4"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bg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GB" noProof="0" dirty="0"/>
          </a:p>
        </p:txBody>
      </p:sp>
    </p:spTree>
    <p:extLst>
      <p:ext uri="{BB962C8B-B14F-4D97-AF65-F5344CB8AC3E}">
        <p14:creationId xmlns:p14="http://schemas.microsoft.com/office/powerpoint/2010/main" val="281408980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mina break slide">
    <p:spTree>
      <p:nvGrpSpPr>
        <p:cNvPr id="1" name=""/>
        <p:cNvGrpSpPr/>
        <p:nvPr/>
      </p:nvGrpSpPr>
      <p:grpSpPr>
        <a:xfrm>
          <a:off x="0" y="0"/>
          <a:ext cx="0" cy="0"/>
          <a:chOff x="0" y="0"/>
          <a:chExt cx="0" cy="0"/>
        </a:xfrm>
      </p:grpSpPr>
      <p:sp>
        <p:nvSpPr>
          <p:cNvPr id="3" name="Title 1"/>
          <p:cNvSpPr>
            <a:spLocks noGrp="1"/>
          </p:cNvSpPr>
          <p:nvPr>
            <p:ph type="ctrTitle"/>
          </p:nvPr>
        </p:nvSpPr>
        <p:spPr>
          <a:xfrm>
            <a:off x="657600" y="3347661"/>
            <a:ext cx="9374837" cy="1368152"/>
          </a:xfrm>
        </p:spPr>
        <p:txBody>
          <a:bodyPr lIns="90000" tIns="46800" rIns="90000" bIns="46800" anchor="b" anchorCtr="0">
            <a:noAutofit/>
          </a:bodyPr>
          <a:lstStyle>
            <a:lvl1pPr>
              <a:defRPr sz="3800" cap="all" baseline="0">
                <a:solidFill>
                  <a:schemeClr val="bg1"/>
                </a:solidFill>
                <a:latin typeface="Zetta Serif Poster" panose="02060503060000020004" pitchFamily="18" charset="0"/>
              </a:defRPr>
            </a:lvl1pPr>
          </a:lstStyle>
          <a:p>
            <a:r>
              <a:rPr lang="en-US" noProof="0" dirty="0" smtClean="0"/>
              <a:t>Click to edit Master title style</a:t>
            </a:r>
            <a:endParaRPr lang="en-GB" noProof="0" dirty="0"/>
          </a:p>
        </p:txBody>
      </p:sp>
      <p:sp>
        <p:nvSpPr>
          <p:cNvPr id="4"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bg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GB" noProof="0" dirty="0"/>
          </a:p>
        </p:txBody>
      </p:sp>
    </p:spTree>
    <p:extLst>
      <p:ext uri="{BB962C8B-B14F-4D97-AF65-F5344CB8AC3E}">
        <p14:creationId xmlns:p14="http://schemas.microsoft.com/office/powerpoint/2010/main" val="2375999297"/>
      </p:ext>
    </p:extLst>
  </p:cSld>
  <p:clrMapOvr>
    <a:masterClrMapping/>
  </p:clrMapOvr>
  <p:timing>
    <p:tnLst>
      <p:par>
        <p:cTn id="1" dur="indefinite" restart="never" nodeType="tmRoot"/>
      </p:par>
    </p:tnLst>
  </p:timing>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noProof="0" dirty="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369246444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GB" dirty="0" smtClean="0"/>
              <a:t>Click to edit Master title style</a:t>
            </a:r>
            <a:endParaRPr lang="en-GB" dirty="0"/>
          </a:p>
        </p:txBody>
      </p:sp>
    </p:spTree>
    <p:extLst>
      <p:ext uri="{BB962C8B-B14F-4D97-AF65-F5344CB8AC3E}">
        <p14:creationId xmlns:p14="http://schemas.microsoft.com/office/powerpoint/2010/main" val="204759942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dirty="0" smtClean="0"/>
              <a:t>Click to edit Master title style</a:t>
            </a:r>
            <a:endParaRPr lang="da-DK" dirty="0"/>
          </a:p>
        </p:txBody>
      </p:sp>
    </p:spTree>
    <p:extLst>
      <p:ext uri="{BB962C8B-B14F-4D97-AF65-F5344CB8AC3E}">
        <p14:creationId xmlns:p14="http://schemas.microsoft.com/office/powerpoint/2010/main" val="153001470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noProof="0" dirty="0" smtClean="0"/>
              <a:t>Click to edit Master title style</a:t>
            </a:r>
            <a:endParaRPr lang="en-GB" noProof="0" dirty="0"/>
          </a:p>
        </p:txBody>
      </p:sp>
      <p:sp>
        <p:nvSpPr>
          <p:cNvPr id="3" name="Content Placeholder 2"/>
          <p:cNvSpPr>
            <a:spLocks noGrp="1"/>
          </p:cNvSpPr>
          <p:nvPr>
            <p:ph sz="half" idx="1"/>
          </p:nvPr>
        </p:nvSpPr>
        <p:spPr>
          <a:xfrm>
            <a:off x="609599" y="1516064"/>
            <a:ext cx="5399617" cy="4507992"/>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4" name="Content Placeholder 3"/>
          <p:cNvSpPr>
            <a:spLocks noGrp="1"/>
          </p:cNvSpPr>
          <p:nvPr>
            <p:ph sz="half" idx="2"/>
          </p:nvPr>
        </p:nvSpPr>
        <p:spPr>
          <a:xfrm>
            <a:off x="6189133" y="1516064"/>
            <a:ext cx="5400000" cy="4503736"/>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402815049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ture,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777600"/>
          </a:xfrm>
        </p:spPr>
        <p:txBody>
          <a:bodyPr/>
          <a:lstStyle>
            <a:lvl1pPr>
              <a:defRPr sz="2200"/>
            </a:lvl1pPr>
          </a:lstStyle>
          <a:p>
            <a:r>
              <a:rPr lang="en-US" noProof="0" dirty="0" smtClean="0"/>
              <a:t>Click to edit Master title style</a:t>
            </a:r>
            <a:endParaRPr lang="en-GB" noProof="0" dirty="0"/>
          </a:p>
        </p:txBody>
      </p:sp>
      <p:sp>
        <p:nvSpPr>
          <p:cNvPr id="7" name="Picture Placeholder 6"/>
          <p:cNvSpPr>
            <a:spLocks noGrp="1"/>
          </p:cNvSpPr>
          <p:nvPr>
            <p:ph type="pic" sz="quarter" idx="13"/>
          </p:nvPr>
        </p:nvSpPr>
        <p:spPr>
          <a:xfrm>
            <a:off x="609600" y="476672"/>
            <a:ext cx="5399616" cy="5541264"/>
          </a:xfrm>
        </p:spPr>
        <p:txBody>
          <a:bodyPr/>
          <a:lstStyle>
            <a:lvl1pPr marL="0" indent="0">
              <a:buNone/>
              <a:defRPr/>
            </a:lvl1pPr>
          </a:lstStyle>
          <a:p>
            <a:r>
              <a:rPr lang="en-US" noProof="0" dirty="0" smtClean="0"/>
              <a:t>Click icon to add picture</a:t>
            </a:r>
            <a:endParaRPr lang="en-GB" noProof="0" dirty="0"/>
          </a:p>
        </p:txBody>
      </p:sp>
      <p:sp>
        <p:nvSpPr>
          <p:cNvPr id="11" name="Content Placeholder 10"/>
          <p:cNvSpPr>
            <a:spLocks noGrp="1"/>
          </p:cNvSpPr>
          <p:nvPr>
            <p:ph sz="quarter" idx="14"/>
          </p:nvPr>
        </p:nvSpPr>
        <p:spPr>
          <a:xfrm>
            <a:off x="6504000" y="1724400"/>
            <a:ext cx="5073600" cy="4297680"/>
          </a:xfrm>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195717969"/>
      </p:ext>
    </p:extLst>
  </p:cSld>
  <p:clrMapOvr>
    <a:masterClrMapping/>
  </p:clrMapOvr>
  <p:timing>
    <p:tnLst>
      <p:par>
        <p:cTn id="1" dur="indefinite" restart="never" nodeType="tmRoot"/>
      </p:par>
    </p:tnLst>
  </p:timing>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content and picture">
    <p:spTree>
      <p:nvGrpSpPr>
        <p:cNvPr id="1" name=""/>
        <p:cNvGrpSpPr/>
        <p:nvPr/>
      </p:nvGrpSpPr>
      <p:grpSpPr>
        <a:xfrm>
          <a:off x="0" y="0"/>
          <a:ext cx="0" cy="0"/>
          <a:chOff x="0" y="0"/>
          <a:chExt cx="0" cy="0"/>
        </a:xfrm>
      </p:grpSpPr>
      <p:sp>
        <p:nvSpPr>
          <p:cNvPr id="5" name="Rectangle 4"/>
          <p:cNvSpPr/>
          <p:nvPr/>
        </p:nvSpPr>
        <p:spPr bwMode="white">
          <a:xfrm>
            <a:off x="10160000" y="6172200"/>
            <a:ext cx="1930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3906"/>
            <a:ext cx="5310717" cy="4773168"/>
          </a:xfrm>
        </p:spPr>
        <p:txBody>
          <a:bodyPr/>
          <a:lstStyle/>
          <a:p>
            <a:pPr lvl="0" eaLnBrk="1" hangingPunct="1"/>
            <a:r>
              <a:rPr lang="en-US" dirty="0" smtClean="0"/>
              <a:t>Click to edit Master text styles</a:t>
            </a:r>
          </a:p>
        </p:txBody>
      </p:sp>
      <p:sp>
        <p:nvSpPr>
          <p:cNvPr id="8" name="Rectangle 2"/>
          <p:cNvSpPr>
            <a:spLocks noGrp="1" noChangeArrowheads="1"/>
          </p:cNvSpPr>
          <p:nvPr>
            <p:ph type="title"/>
          </p:nvPr>
        </p:nvSpPr>
        <p:spPr>
          <a:xfrm>
            <a:off x="609600" y="493715"/>
            <a:ext cx="5310717" cy="919161"/>
          </a:xfrm>
        </p:spPr>
        <p:txBody>
          <a:bodyPr/>
          <a:lstStyle>
            <a:lvl1pPr>
              <a:defRPr sz="2200">
                <a:latin typeface="+mj-lt"/>
              </a:defRPr>
            </a:lvl1pPr>
          </a:lstStyle>
          <a:p>
            <a:pPr eaLnBrk="1" hangingPunct="1"/>
            <a:r>
              <a:rPr lang="en-US" dirty="0" smtClean="0"/>
              <a:t>Click to edit Master title style</a:t>
            </a:r>
            <a:endParaRPr lang="da-DK" dirty="0" smtClean="0"/>
          </a:p>
        </p:txBody>
      </p:sp>
      <p:sp>
        <p:nvSpPr>
          <p:cNvPr id="7" name="Rectangle 6"/>
          <p:cNvSpPr/>
          <p:nvPr/>
        </p:nvSpPr>
        <p:spPr>
          <a:xfrm>
            <a:off x="9589177" y="5513891"/>
            <a:ext cx="2459567" cy="838200"/>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9"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US" dirty="0" smtClean="0"/>
              <a:t>Click icon to add picture</a:t>
            </a:r>
            <a:endParaRPr lang="en-GB" dirty="0"/>
          </a:p>
        </p:txBody>
      </p:sp>
      <p:sp>
        <p:nvSpPr>
          <p:cNvPr id="10" name="Rectangle 9"/>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Tree>
    <p:extLst>
      <p:ext uri="{BB962C8B-B14F-4D97-AF65-F5344CB8AC3E}">
        <p14:creationId xmlns:p14="http://schemas.microsoft.com/office/powerpoint/2010/main" val="147400491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endParaRPr lang="da-DK" dirty="0"/>
          </a:p>
        </p:txBody>
      </p:sp>
      <p:sp>
        <p:nvSpPr>
          <p:cNvPr id="6" name="Rectangle 5"/>
          <p:cNvSpPr/>
          <p:nvPr/>
        </p:nvSpPr>
        <p:spPr>
          <a:xfrm>
            <a:off x="9674034" y="228599"/>
            <a:ext cx="2311400" cy="246057"/>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5" name="Rectangle 4"/>
          <p:cNvSpPr/>
          <p:nvPr/>
        </p:nvSpPr>
        <p:spPr>
          <a:xfrm>
            <a:off x="143256" y="5419341"/>
            <a:ext cx="11905488" cy="1294897"/>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7" name="Rectangle 6"/>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8" name="Rectangle 7"/>
          <p:cNvSpPr/>
          <p:nvPr userDrawn="1"/>
        </p:nvSpPr>
        <p:spPr>
          <a:xfrm>
            <a:off x="9674034" y="228599"/>
            <a:ext cx="2311400" cy="246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Tree>
    <p:extLst>
      <p:ext uri="{BB962C8B-B14F-4D97-AF65-F5344CB8AC3E}">
        <p14:creationId xmlns:p14="http://schemas.microsoft.com/office/powerpoint/2010/main" val="225783830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4769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eldias">
    <p:spTree>
      <p:nvGrpSpPr>
        <p:cNvPr id="1" name=""/>
        <p:cNvGrpSpPr/>
        <p:nvPr/>
      </p:nvGrpSpPr>
      <p:grpSpPr>
        <a:xfrm>
          <a:off x="0" y="0"/>
          <a:ext cx="0" cy="0"/>
          <a:chOff x="0" y="0"/>
          <a:chExt cx="0" cy="0"/>
        </a:xfrm>
      </p:grpSpPr>
      <p:pic>
        <p:nvPicPr>
          <p:cNvPr id="8" name="Billede 7"/>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144023" y="130203"/>
            <a:ext cx="12038083" cy="6725562"/>
          </a:xfrm>
          <a:prstGeom prst="rect">
            <a:avLst/>
          </a:prstGeom>
        </p:spPr>
      </p:pic>
    </p:spTree>
    <p:extLst>
      <p:ext uri="{BB962C8B-B14F-4D97-AF65-F5344CB8AC3E}">
        <p14:creationId xmlns:p14="http://schemas.microsoft.com/office/powerpoint/2010/main" val="37502156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Punkter med 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7" name="Pladsholder til tekst 6"/>
          <p:cNvSpPr>
            <a:spLocks noGrp="1"/>
          </p:cNvSpPr>
          <p:nvPr>
            <p:ph type="body" sz="quarter" idx="13"/>
          </p:nvPr>
        </p:nvSpPr>
        <p:spPr>
          <a:xfrm>
            <a:off x="766233" y="2085976"/>
            <a:ext cx="7442200" cy="334963"/>
          </a:xfrm>
        </p:spPr>
        <p:txBody>
          <a:bodyPr/>
          <a:lstStyle>
            <a:lvl1pPr marL="0" indent="0">
              <a:buNone/>
              <a:defRPr>
                <a:latin typeface="Zetta Serif Bold"/>
                <a:cs typeface="Zetta Serif Bold"/>
              </a:defRPr>
            </a:lvl1pPr>
          </a:lstStyle>
          <a:p>
            <a:pPr lvl="0"/>
            <a:r>
              <a:rPr lang="da-DK" dirty="0" smtClean="0"/>
              <a:t>Klik for at redigere teksttypografierne i masteren</a:t>
            </a:r>
          </a:p>
        </p:txBody>
      </p:sp>
      <p:sp>
        <p:nvSpPr>
          <p:cNvPr id="8" name="Pladsholder til tekst 6"/>
          <p:cNvSpPr>
            <a:spLocks noGrp="1"/>
          </p:cNvSpPr>
          <p:nvPr>
            <p:ph type="body" sz="quarter" idx="14"/>
          </p:nvPr>
        </p:nvSpPr>
        <p:spPr>
          <a:xfrm>
            <a:off x="766233" y="2420889"/>
            <a:ext cx="7442200" cy="334963"/>
          </a:xfrm>
        </p:spPr>
        <p:txBody>
          <a:bodyPr/>
          <a:lstStyle>
            <a:lvl1pPr marL="0" indent="0">
              <a:buNone/>
              <a:defRPr>
                <a:solidFill>
                  <a:srgbClr val="7AC4DE"/>
                </a:solidFill>
                <a:latin typeface="Zetta Serif Light italic"/>
                <a:cs typeface="Zetta Serif Light italic"/>
              </a:defRPr>
            </a:lvl1pPr>
          </a:lstStyle>
          <a:p>
            <a:pPr lvl="0"/>
            <a:r>
              <a:rPr lang="da-DK" dirty="0" smtClean="0"/>
              <a:t>Klik for at redigere teksttypografierne i masteren</a:t>
            </a:r>
          </a:p>
        </p:txBody>
      </p:sp>
      <p:sp>
        <p:nvSpPr>
          <p:cNvPr id="9" name="Pladsholder til tekst 6"/>
          <p:cNvSpPr>
            <a:spLocks noGrp="1"/>
          </p:cNvSpPr>
          <p:nvPr>
            <p:ph type="body" sz="quarter" idx="15"/>
          </p:nvPr>
        </p:nvSpPr>
        <p:spPr>
          <a:xfrm>
            <a:off x="766233" y="3140968"/>
            <a:ext cx="9362215" cy="1112851"/>
          </a:xfrm>
        </p:spPr>
        <p:txBody>
          <a:bodyPr anchor="b"/>
          <a:lstStyle>
            <a:lvl1pPr marL="0" indent="0">
              <a:buNone/>
              <a:defRPr sz="3800">
                <a:solidFill>
                  <a:schemeClr val="bg1"/>
                </a:solidFill>
                <a:latin typeface="Zetta Serif Light"/>
                <a:cs typeface="Zetta Serif Light"/>
              </a:defRPr>
            </a:lvl1pPr>
          </a:lstStyle>
          <a:p>
            <a:pPr lvl="0"/>
            <a:r>
              <a:rPr lang="da-DK" dirty="0" smtClean="0"/>
              <a:t>Klik for at redigere teksttypografierne i masteren</a:t>
            </a:r>
          </a:p>
        </p:txBody>
      </p:sp>
      <p:sp>
        <p:nvSpPr>
          <p:cNvPr id="11" name="Pladsholder til tekst 10"/>
          <p:cNvSpPr>
            <a:spLocks noGrp="1"/>
          </p:cNvSpPr>
          <p:nvPr>
            <p:ph type="body" sz="quarter" idx="16"/>
          </p:nvPr>
        </p:nvSpPr>
        <p:spPr>
          <a:xfrm>
            <a:off x="766234" y="4365626"/>
            <a:ext cx="9362213" cy="1871663"/>
          </a:xfrm>
        </p:spPr>
        <p:txBody>
          <a:bodyPr/>
          <a:lstStyle>
            <a:lvl1pPr marL="342900" indent="-342900">
              <a:buClr>
                <a:srgbClr val="7AC4DE"/>
              </a:buClr>
              <a:buSzPct val="100000"/>
              <a:buFont typeface="+mj-lt"/>
              <a:buAutoNum type="arabicPeriod"/>
              <a:defRPr/>
            </a:lvl1pPr>
            <a:lvl2pPr marL="550863" indent="-342900">
              <a:buClr>
                <a:srgbClr val="7AC4DE"/>
              </a:buClr>
              <a:buSzPct val="100000"/>
              <a:buFont typeface="+mj-lt"/>
              <a:buAutoNum type="arabicPeriod"/>
              <a:defRPr/>
            </a:lvl2pPr>
            <a:lvl3pPr marL="765175" indent="-342900">
              <a:buClr>
                <a:srgbClr val="7AC4DE"/>
              </a:buClr>
              <a:buSzPct val="100000"/>
              <a:buFont typeface="+mj-lt"/>
              <a:buAutoNum type="arabicPeriod"/>
              <a:defRPr/>
            </a:lvl3pPr>
            <a:lvl4pPr marL="985838" indent="-342900">
              <a:buClr>
                <a:srgbClr val="7AC4DE"/>
              </a:buClr>
              <a:buSzPct val="100000"/>
              <a:buFont typeface="+mj-lt"/>
              <a:buAutoNum type="arabicPeriod"/>
              <a:defRPr/>
            </a:lvl4pPr>
            <a:lvl5pPr marL="1200150" indent="-342900">
              <a:buClr>
                <a:srgbClr val="7AC4DE"/>
              </a:buClr>
              <a:buSzPct val="100000"/>
              <a:buFont typeface="+mj-lt"/>
              <a:buAutoNum type="arabicPeriod"/>
              <a:defRPr/>
            </a:lvl5pPr>
          </a:lstStyle>
          <a:p>
            <a:pPr lvl="0"/>
            <a:r>
              <a:rPr lang="da-DK" dirty="0" smtClean="0"/>
              <a:t>Klik for at redigere teksttypografierne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10" name="Rectangle 6"/>
          <p:cNvSpPr>
            <a:spLocks noGrp="1" noChangeArrowheads="1"/>
          </p:cNvSpPr>
          <p:nvPr>
            <p:ph type="dt" sz="half" idx="17"/>
          </p:nvPr>
        </p:nvSpPr>
        <p:spPr>
          <a:xfrm>
            <a:off x="4260850" y="6418264"/>
            <a:ext cx="3996267" cy="179387"/>
          </a:xfrm>
          <a:prstGeom prst="rect">
            <a:avLst/>
          </a:prstGeom>
          <a:ln/>
        </p:spPr>
        <p:txBody>
          <a:bodyPr/>
          <a:lstStyle>
            <a:lvl1pPr>
              <a:defRPr/>
            </a:lvl1pPr>
          </a:lstStyle>
          <a:p>
            <a:fld id="{C34062EC-5C07-4767-B52F-C093E37CEA5A}" type="datetime1">
              <a:rPr lang="en-GB">
                <a:solidFill>
                  <a:srgbClr val="000000"/>
                </a:solidFill>
              </a:rPr>
              <a:pPr/>
              <a:t>09/12/2016</a:t>
            </a:fld>
            <a:endParaRPr lang="en-GB" dirty="0">
              <a:solidFill>
                <a:srgbClr val="000000"/>
              </a:solidFill>
            </a:endParaRPr>
          </a:p>
        </p:txBody>
      </p:sp>
      <p:sp>
        <p:nvSpPr>
          <p:cNvPr id="12" name="Rectangle 8"/>
          <p:cNvSpPr>
            <a:spLocks noGrp="1" noChangeArrowheads="1"/>
          </p:cNvSpPr>
          <p:nvPr>
            <p:ph type="sldNum" sz="quarter" idx="18"/>
          </p:nvPr>
        </p:nvSpPr>
        <p:spPr>
          <a:xfrm>
            <a:off x="2637367" y="6418264"/>
            <a:ext cx="1439333" cy="179387"/>
          </a:xfrm>
          <a:prstGeom prst="rect">
            <a:avLst/>
          </a:prstGeom>
          <a:ln/>
        </p:spPr>
        <p:txBody>
          <a:bodyPr/>
          <a:lstStyle>
            <a:lvl1pPr>
              <a:defRPr/>
            </a:lvl1pPr>
          </a:lstStyle>
          <a:p>
            <a:r>
              <a:rPr lang="en-GB" dirty="0">
                <a:solidFill>
                  <a:srgbClr val="000000"/>
                </a:solidFill>
              </a:rPr>
              <a:t>Slide no. </a:t>
            </a:r>
            <a:fld id="{B21E5947-B445-4948-8A1E-D1CDCE73D4C3}" type="slidenum">
              <a:rPr lang="en-GB">
                <a:solidFill>
                  <a:srgbClr val="000000"/>
                </a:solidFill>
              </a:rPr>
              <a:pPr/>
              <a:t>‹#›</a:t>
            </a:fld>
            <a:endParaRPr lang="en-GB" dirty="0">
              <a:solidFill>
                <a:srgbClr val="000000"/>
              </a:solidFill>
            </a:endParaRPr>
          </a:p>
        </p:txBody>
      </p:sp>
      <p:sp>
        <p:nvSpPr>
          <p:cNvPr id="13" name="Rectangle 11"/>
          <p:cNvSpPr>
            <a:spLocks noGrp="1" noChangeArrowheads="1"/>
          </p:cNvSpPr>
          <p:nvPr>
            <p:ph type="ftr" sz="quarter" idx="19"/>
          </p:nvPr>
        </p:nvSpPr>
        <p:spPr>
          <a:xfrm>
            <a:off x="334434" y="6418264"/>
            <a:ext cx="2161117" cy="179387"/>
          </a:xfrm>
          <a:prstGeom prst="rect">
            <a:avLst/>
          </a:prstGeom>
          <a:ln/>
        </p:spPr>
        <p:txBody>
          <a:bodyPr/>
          <a:lstStyle>
            <a:lvl1pPr>
              <a:defRPr/>
            </a:lvl1pPr>
          </a:lstStyle>
          <a:p>
            <a:pPr>
              <a:defRPr/>
            </a:pPr>
            <a:r>
              <a:rPr lang="en-GB" dirty="0">
                <a:solidFill>
                  <a:srgbClr val="000000"/>
                </a:solidFill>
              </a:rPr>
              <a:t>Department</a:t>
            </a:r>
          </a:p>
        </p:txBody>
      </p:sp>
    </p:spTree>
    <p:extLst>
      <p:ext uri="{BB962C8B-B14F-4D97-AF65-F5344CB8AC3E}">
        <p14:creationId xmlns:p14="http://schemas.microsoft.com/office/powerpoint/2010/main" val="14623316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illede og overskrift">
    <p:spTree>
      <p:nvGrpSpPr>
        <p:cNvPr id="1" name=""/>
        <p:cNvGrpSpPr/>
        <p:nvPr/>
      </p:nvGrpSpPr>
      <p:grpSpPr>
        <a:xfrm>
          <a:off x="0" y="0"/>
          <a:ext cx="0" cy="0"/>
          <a:chOff x="0" y="0"/>
          <a:chExt cx="0" cy="0"/>
        </a:xfrm>
      </p:grpSpPr>
      <p:sp>
        <p:nvSpPr>
          <p:cNvPr id="2" name="Titel 1"/>
          <p:cNvSpPr>
            <a:spLocks noGrp="1"/>
          </p:cNvSpPr>
          <p:nvPr>
            <p:ph type="title"/>
          </p:nvPr>
        </p:nvSpPr>
        <p:spPr>
          <a:xfrm>
            <a:off x="1200000" y="3429001"/>
            <a:ext cx="9888555" cy="1798637"/>
          </a:xfrm>
        </p:spPr>
        <p:txBody>
          <a:bodyPr anchor="t"/>
          <a:lstStyle/>
          <a:p>
            <a:r>
              <a:rPr lang="da-DK" dirty="0" smtClean="0"/>
              <a:t>Klik for at redigere i masteren</a:t>
            </a:r>
            <a:endParaRPr lang="da-DK" dirty="0"/>
          </a:p>
        </p:txBody>
      </p:sp>
      <p:sp>
        <p:nvSpPr>
          <p:cNvPr id="7" name="Pladsholder til billede 6"/>
          <p:cNvSpPr>
            <a:spLocks noGrp="1"/>
          </p:cNvSpPr>
          <p:nvPr>
            <p:ph type="pic" sz="quarter" idx="13"/>
          </p:nvPr>
        </p:nvSpPr>
        <p:spPr>
          <a:xfrm>
            <a:off x="1200151" y="2060575"/>
            <a:ext cx="5040000" cy="1296988"/>
          </a:xfrm>
        </p:spPr>
        <p:txBody>
          <a:bodyPr anchor="b"/>
          <a:lstStyle/>
          <a:p>
            <a:pPr lvl="0"/>
            <a:endParaRPr lang="da-DK" noProof="0"/>
          </a:p>
        </p:txBody>
      </p:sp>
      <p:sp>
        <p:nvSpPr>
          <p:cNvPr id="4" name="Rectangle 6"/>
          <p:cNvSpPr>
            <a:spLocks noGrp="1" noChangeArrowheads="1"/>
          </p:cNvSpPr>
          <p:nvPr>
            <p:ph type="dt" sz="half" idx="14"/>
          </p:nvPr>
        </p:nvSpPr>
        <p:spPr>
          <a:xfrm>
            <a:off x="4260850" y="6418264"/>
            <a:ext cx="3996267" cy="179387"/>
          </a:xfrm>
          <a:prstGeom prst="rect">
            <a:avLst/>
          </a:prstGeom>
          <a:ln/>
        </p:spPr>
        <p:txBody>
          <a:bodyPr/>
          <a:lstStyle>
            <a:lvl1pPr>
              <a:defRPr/>
            </a:lvl1pPr>
          </a:lstStyle>
          <a:p>
            <a:fld id="{E2A22460-20B5-428E-B37F-50B552CF81D0}" type="datetime1">
              <a:rPr lang="en-GB">
                <a:solidFill>
                  <a:srgbClr val="000000"/>
                </a:solidFill>
              </a:rPr>
              <a:pPr/>
              <a:t>09/12/2016</a:t>
            </a:fld>
            <a:endParaRPr lang="en-GB" dirty="0">
              <a:solidFill>
                <a:srgbClr val="000000"/>
              </a:solidFill>
            </a:endParaRPr>
          </a:p>
        </p:txBody>
      </p:sp>
      <p:sp>
        <p:nvSpPr>
          <p:cNvPr id="5" name="Rectangle 8"/>
          <p:cNvSpPr>
            <a:spLocks noGrp="1" noChangeArrowheads="1"/>
          </p:cNvSpPr>
          <p:nvPr>
            <p:ph type="sldNum" sz="quarter" idx="15"/>
          </p:nvPr>
        </p:nvSpPr>
        <p:spPr>
          <a:xfrm>
            <a:off x="2637367" y="6418264"/>
            <a:ext cx="1439333" cy="179387"/>
          </a:xfrm>
          <a:prstGeom prst="rect">
            <a:avLst/>
          </a:prstGeom>
          <a:ln/>
        </p:spPr>
        <p:txBody>
          <a:bodyPr/>
          <a:lstStyle>
            <a:lvl1pPr>
              <a:defRPr/>
            </a:lvl1pPr>
          </a:lstStyle>
          <a:p>
            <a:r>
              <a:rPr lang="en-GB" dirty="0">
                <a:solidFill>
                  <a:srgbClr val="000000"/>
                </a:solidFill>
              </a:rPr>
              <a:t>Slide no. </a:t>
            </a:r>
            <a:fld id="{036CD8EB-DAD3-4A84-8420-3A0AD3C106E2}" type="slidenum">
              <a:rPr lang="en-GB">
                <a:solidFill>
                  <a:srgbClr val="000000"/>
                </a:solidFill>
              </a:rPr>
              <a:pPr/>
              <a:t>‹#›</a:t>
            </a:fld>
            <a:endParaRPr lang="en-GB" dirty="0">
              <a:solidFill>
                <a:srgbClr val="000000"/>
              </a:solidFill>
            </a:endParaRPr>
          </a:p>
        </p:txBody>
      </p:sp>
      <p:sp>
        <p:nvSpPr>
          <p:cNvPr id="6" name="Rectangle 11"/>
          <p:cNvSpPr>
            <a:spLocks noGrp="1" noChangeArrowheads="1"/>
          </p:cNvSpPr>
          <p:nvPr>
            <p:ph type="ftr" sz="quarter" idx="16"/>
          </p:nvPr>
        </p:nvSpPr>
        <p:spPr>
          <a:xfrm>
            <a:off x="334434" y="6418264"/>
            <a:ext cx="2161117" cy="179387"/>
          </a:xfrm>
          <a:prstGeom prst="rect">
            <a:avLst/>
          </a:prstGeom>
          <a:ln/>
        </p:spPr>
        <p:txBody>
          <a:bodyPr/>
          <a:lstStyle>
            <a:lvl1pPr>
              <a:defRPr/>
            </a:lvl1pPr>
          </a:lstStyle>
          <a:p>
            <a:pPr>
              <a:defRPr/>
            </a:pPr>
            <a:r>
              <a:rPr lang="en-GB" dirty="0">
                <a:solidFill>
                  <a:srgbClr val="000000"/>
                </a:solidFill>
              </a:rPr>
              <a:t>Department</a:t>
            </a:r>
          </a:p>
        </p:txBody>
      </p:sp>
    </p:spTree>
    <p:extLst>
      <p:ext uri="{BB962C8B-B14F-4D97-AF65-F5344CB8AC3E}">
        <p14:creationId xmlns:p14="http://schemas.microsoft.com/office/powerpoint/2010/main" val="22143267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dt" sz="half" idx="10"/>
          </p:nvPr>
        </p:nvSpPr>
        <p:spPr>
          <a:xfrm>
            <a:off x="4260850" y="6418264"/>
            <a:ext cx="3996267" cy="179387"/>
          </a:xfrm>
          <a:prstGeom prst="rect">
            <a:avLst/>
          </a:prstGeom>
          <a:ln/>
        </p:spPr>
        <p:txBody>
          <a:bodyPr/>
          <a:lstStyle>
            <a:lvl1pPr>
              <a:defRPr/>
            </a:lvl1pPr>
          </a:lstStyle>
          <a:p>
            <a:fld id="{0796271F-558E-46CC-BF3D-EFA39041D02C}" type="datetime1">
              <a:rPr lang="en-GB">
                <a:solidFill>
                  <a:srgbClr val="000000"/>
                </a:solidFill>
              </a:rPr>
              <a:pPr/>
              <a:t>09/12/2016</a:t>
            </a:fld>
            <a:endParaRPr lang="en-GB" dirty="0">
              <a:solidFill>
                <a:srgbClr val="000000"/>
              </a:solidFill>
            </a:endParaRPr>
          </a:p>
        </p:txBody>
      </p:sp>
      <p:sp>
        <p:nvSpPr>
          <p:cNvPr id="4" name="Rectangle 8"/>
          <p:cNvSpPr>
            <a:spLocks noGrp="1" noChangeArrowheads="1"/>
          </p:cNvSpPr>
          <p:nvPr>
            <p:ph type="sldNum" sz="quarter" idx="11"/>
          </p:nvPr>
        </p:nvSpPr>
        <p:spPr>
          <a:xfrm>
            <a:off x="2637367" y="6418264"/>
            <a:ext cx="1439333" cy="179387"/>
          </a:xfrm>
          <a:prstGeom prst="rect">
            <a:avLst/>
          </a:prstGeom>
          <a:ln/>
        </p:spPr>
        <p:txBody>
          <a:bodyPr/>
          <a:lstStyle>
            <a:lvl1pPr>
              <a:defRPr/>
            </a:lvl1pPr>
          </a:lstStyle>
          <a:p>
            <a:r>
              <a:rPr lang="en-GB" dirty="0">
                <a:solidFill>
                  <a:srgbClr val="000000"/>
                </a:solidFill>
              </a:rPr>
              <a:t>Slide no. </a:t>
            </a:r>
            <a:fld id="{126A15F8-108E-4BAA-911F-372DE7C0712D}" type="slidenum">
              <a:rPr lang="en-GB">
                <a:solidFill>
                  <a:srgbClr val="000000"/>
                </a:solidFill>
              </a:rPr>
              <a:pPr/>
              <a:t>‹#›</a:t>
            </a:fld>
            <a:endParaRPr lang="en-GB" dirty="0">
              <a:solidFill>
                <a:srgbClr val="000000"/>
              </a:solidFill>
            </a:endParaRPr>
          </a:p>
        </p:txBody>
      </p:sp>
      <p:sp>
        <p:nvSpPr>
          <p:cNvPr id="5" name="Rectangle 11"/>
          <p:cNvSpPr>
            <a:spLocks noGrp="1" noChangeArrowheads="1"/>
          </p:cNvSpPr>
          <p:nvPr>
            <p:ph type="ftr" sz="quarter" idx="12"/>
          </p:nvPr>
        </p:nvSpPr>
        <p:spPr>
          <a:xfrm>
            <a:off x="334434" y="6418264"/>
            <a:ext cx="2161117" cy="179387"/>
          </a:xfrm>
          <a:prstGeom prst="rect">
            <a:avLst/>
          </a:prstGeom>
          <a:ln/>
        </p:spPr>
        <p:txBody>
          <a:bodyPr/>
          <a:lstStyle>
            <a:lvl1pPr>
              <a:defRPr/>
            </a:lvl1pPr>
          </a:lstStyle>
          <a:p>
            <a:pPr>
              <a:defRPr/>
            </a:pPr>
            <a:r>
              <a:rPr lang="en-GB" dirty="0">
                <a:solidFill>
                  <a:srgbClr val="000000"/>
                </a:solidFill>
              </a:rPr>
              <a:t>Department</a:t>
            </a:r>
          </a:p>
        </p:txBody>
      </p:sp>
    </p:spTree>
    <p:extLst>
      <p:ext uri="{BB962C8B-B14F-4D97-AF65-F5344CB8AC3E}">
        <p14:creationId xmlns:p14="http://schemas.microsoft.com/office/powerpoint/2010/main" val="1306288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GB" noProof="0" dirty="0" smtClean="0"/>
              <a:t>Click to edit Master title style</a:t>
            </a:r>
            <a:endParaRPr lang="en-GB" noProof="0" dirty="0"/>
          </a:p>
        </p:txBody>
      </p:sp>
      <p:sp>
        <p:nvSpPr>
          <p:cNvPr id="3" name="Content Placeholder 2"/>
          <p:cNvSpPr>
            <a:spLocks noGrp="1"/>
          </p:cNvSpPr>
          <p:nvPr>
            <p:ph sz="half" idx="1"/>
          </p:nvPr>
        </p:nvSpPr>
        <p:spPr>
          <a:xfrm>
            <a:off x="609599" y="1516064"/>
            <a:ext cx="5399617" cy="4507992"/>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Content Placeholder 3"/>
          <p:cNvSpPr>
            <a:spLocks noGrp="1"/>
          </p:cNvSpPr>
          <p:nvPr>
            <p:ph sz="half" idx="2"/>
          </p:nvPr>
        </p:nvSpPr>
        <p:spPr>
          <a:xfrm>
            <a:off x="6189133" y="1516064"/>
            <a:ext cx="5400000" cy="4503736"/>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392089680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sp>
        <p:nvSpPr>
          <p:cNvPr id="6" name="Rectangle 5"/>
          <p:cNvSpPr/>
          <p:nvPr userDrawn="1"/>
        </p:nvSpPr>
        <p:spPr>
          <a:xfrm>
            <a:off x="143256" y="139701"/>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da-DK" dirty="0">
              <a:solidFill>
                <a:srgbClr val="FFFFFF"/>
              </a:solidFill>
            </a:endParaRPr>
          </a:p>
        </p:txBody>
      </p:sp>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bg1"/>
                </a:solidFill>
                <a:latin typeface="+mj-lt"/>
              </a:defRPr>
            </a:lvl1pPr>
          </a:lstStyle>
          <a:p>
            <a:r>
              <a:rPr lang="en-US" noProof="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bg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a:p>
        </p:txBody>
      </p:sp>
      <p:pic>
        <p:nvPicPr>
          <p:cNvPr id="8"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146352484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_White">
    <p:spTree>
      <p:nvGrpSpPr>
        <p:cNvPr id="1" name=""/>
        <p:cNvGrpSpPr/>
        <p:nvPr/>
      </p:nvGrpSpPr>
      <p:grpSpPr>
        <a:xfrm>
          <a:off x="0" y="0"/>
          <a:ext cx="0" cy="0"/>
          <a:chOff x="0" y="0"/>
          <a:chExt cx="0" cy="0"/>
        </a:xfrm>
      </p:grpSpPr>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tx1"/>
                </a:solidFill>
                <a:latin typeface="+mj-lt"/>
              </a:defRPr>
            </a:lvl1pPr>
          </a:lstStyle>
          <a:p>
            <a:r>
              <a:rPr lang="en-US" noProof="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tx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a:p>
        </p:txBody>
      </p:sp>
    </p:spTree>
    <p:extLst>
      <p:ext uri="{BB962C8B-B14F-4D97-AF65-F5344CB8AC3E}">
        <p14:creationId xmlns:p14="http://schemas.microsoft.com/office/powerpoint/2010/main" val="158448531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lvl1pPr>
              <a:buSzPct val="100000"/>
              <a:defRPr>
                <a:solidFill>
                  <a:schemeClr val="tx1"/>
                </a:solidFill>
              </a:defRPr>
            </a:lvl1pPr>
            <a:lvl2pPr>
              <a:buSzPct val="100000"/>
              <a:defRPr>
                <a:solidFill>
                  <a:schemeClr val="tx1"/>
                </a:solidFill>
              </a:defRPr>
            </a:lvl2pPr>
            <a:lvl3pPr>
              <a:buSzPct val="100000"/>
              <a:defRPr>
                <a:solidFill>
                  <a:schemeClr val="tx1"/>
                </a:solidFill>
              </a:defRPr>
            </a:lvl3pPr>
            <a:lvl4pPr>
              <a:buSzPct val="100000"/>
              <a:defRPr>
                <a:solidFill>
                  <a:schemeClr val="tx1"/>
                </a:solidFill>
              </a:defRPr>
            </a:lvl4pPr>
            <a:lvl5pPr>
              <a:buSzPct val="100000"/>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247088443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Tree>
    <p:extLst>
      <p:ext uri="{BB962C8B-B14F-4D97-AF65-F5344CB8AC3E}">
        <p14:creationId xmlns:p14="http://schemas.microsoft.com/office/powerpoint/2010/main" val="25897680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Breaker_blue">
    <p:spTree>
      <p:nvGrpSpPr>
        <p:cNvPr id="1" name=""/>
        <p:cNvGrpSpPr/>
        <p:nvPr/>
      </p:nvGrpSpPr>
      <p:grpSpPr>
        <a:xfrm>
          <a:off x="0" y="0"/>
          <a:ext cx="0" cy="0"/>
          <a:chOff x="0" y="0"/>
          <a:chExt cx="0" cy="0"/>
        </a:xfrm>
      </p:grpSpPr>
      <p:sp>
        <p:nvSpPr>
          <p:cNvPr id="3" name="Rectangle 2"/>
          <p:cNvSpPr/>
          <p:nvPr userDrawn="1"/>
        </p:nvSpPr>
        <p:spPr>
          <a:xfrm>
            <a:off x="143256" y="139701"/>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da-DK" dirty="0">
              <a:solidFill>
                <a:srgbClr val="FFFFFF"/>
              </a:solidFill>
            </a:endParaRPr>
          </a:p>
        </p:txBody>
      </p:sp>
      <p:sp>
        <p:nvSpPr>
          <p:cNvPr id="2" name="Title 1"/>
          <p:cNvSpPr>
            <a:spLocks noGrp="1"/>
          </p:cNvSpPr>
          <p:nvPr>
            <p:ph type="title"/>
          </p:nvPr>
        </p:nvSpPr>
        <p:spPr>
          <a:xfrm>
            <a:off x="838200" y="3733800"/>
            <a:ext cx="9432000" cy="914400"/>
          </a:xfrm>
        </p:spPr>
        <p:txBody>
          <a:bodyPr anchor="ctr"/>
          <a:lstStyle>
            <a:lvl1pPr>
              <a:defRPr>
                <a:solidFill>
                  <a:schemeClr val="bg1"/>
                </a:solidFill>
              </a:defRPr>
            </a:lvl1pPr>
          </a:lstStyle>
          <a:p>
            <a:r>
              <a:rPr lang="en-US" noProof="0" smtClean="0"/>
              <a:t>Click to edit Master title style</a:t>
            </a:r>
            <a:endParaRPr lang="en-GB" noProof="0" dirty="0"/>
          </a:p>
        </p:txBody>
      </p:sp>
      <p:pic>
        <p:nvPicPr>
          <p:cNvPr id="4"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271556035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 Breaker_white">
    <p:spTree>
      <p:nvGrpSpPr>
        <p:cNvPr id="1" name=""/>
        <p:cNvGrpSpPr/>
        <p:nvPr/>
      </p:nvGrpSpPr>
      <p:grpSpPr>
        <a:xfrm>
          <a:off x="0" y="0"/>
          <a:ext cx="0" cy="0"/>
          <a:chOff x="0" y="0"/>
          <a:chExt cx="0" cy="0"/>
        </a:xfrm>
      </p:grpSpPr>
      <p:sp>
        <p:nvSpPr>
          <p:cNvPr id="2" name="Title 1"/>
          <p:cNvSpPr>
            <a:spLocks noGrp="1"/>
          </p:cNvSpPr>
          <p:nvPr>
            <p:ph type="title"/>
          </p:nvPr>
        </p:nvSpPr>
        <p:spPr>
          <a:xfrm>
            <a:off x="838200" y="3733800"/>
            <a:ext cx="9432000" cy="914400"/>
          </a:xfrm>
        </p:spPr>
        <p:txBody>
          <a:bodyPr anchor="ctr"/>
          <a:lstStyle>
            <a:lvl1pPr>
              <a:defRPr>
                <a:solidFill>
                  <a:schemeClr val="tx1"/>
                </a:solidFill>
              </a:defRPr>
            </a:lvl1pPr>
          </a:lstStyle>
          <a:p>
            <a:r>
              <a:rPr lang="en-US" noProof="0" smtClean="0"/>
              <a:t>Click to edit Master title style</a:t>
            </a:r>
            <a:endParaRPr lang="en-GB" noProof="0" dirty="0"/>
          </a:p>
        </p:txBody>
      </p:sp>
      <p:pic>
        <p:nvPicPr>
          <p:cNvPr id="4" name="Picture 19" descr="C:\Users\vno013\Desktop\Maersk_Line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389760163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609599" y="1516063"/>
            <a:ext cx="5399617"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6189133" y="1516063"/>
            <a:ext cx="5400000"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67000854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830450"/>
          </a:xfrm>
        </p:spPr>
        <p:txBody>
          <a:bodyPr/>
          <a:lstStyle>
            <a:lvl1pPr>
              <a:defRPr sz="2200">
                <a:solidFill>
                  <a:schemeClr val="tx1"/>
                </a:solidFill>
              </a:defRPr>
            </a:lvl1pPr>
          </a:lstStyle>
          <a:p>
            <a:r>
              <a:rPr lang="en-US" noProof="0" smtClean="0"/>
              <a:t>Click to edit Master title style</a:t>
            </a:r>
            <a:endParaRPr lang="en-GB" noProof="0" dirty="0"/>
          </a:p>
        </p:txBody>
      </p:sp>
      <p:sp>
        <p:nvSpPr>
          <p:cNvPr id="7" name="Picture Placeholder 6"/>
          <p:cNvSpPr>
            <a:spLocks noGrp="1"/>
          </p:cNvSpPr>
          <p:nvPr>
            <p:ph type="pic" sz="quarter" idx="13"/>
          </p:nvPr>
        </p:nvSpPr>
        <p:spPr>
          <a:xfrm>
            <a:off x="609600" y="478110"/>
            <a:ext cx="5399616" cy="5543128"/>
          </a:xfrm>
        </p:spPr>
        <p:txBody>
          <a:bodyPr/>
          <a:lstStyle>
            <a:lvl1pPr marL="0" indent="0">
              <a:buNone/>
              <a:defRPr/>
            </a:lvl1pPr>
          </a:lstStyle>
          <a:p>
            <a:r>
              <a:rPr lang="en-US" noProof="0" dirty="0" smtClean="0"/>
              <a:t>Drag picture to placeholder or click icon to add</a:t>
            </a:r>
            <a:endParaRPr lang="en-GB" noProof="0" dirty="0"/>
          </a:p>
        </p:txBody>
      </p:sp>
      <p:sp>
        <p:nvSpPr>
          <p:cNvPr id="11" name="Content Placeholder 10"/>
          <p:cNvSpPr>
            <a:spLocks noGrp="1"/>
          </p:cNvSpPr>
          <p:nvPr>
            <p:ph sz="quarter" idx="14"/>
          </p:nvPr>
        </p:nvSpPr>
        <p:spPr>
          <a:xfrm>
            <a:off x="6504000" y="1724399"/>
            <a:ext cx="5073600" cy="42968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7792806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7" name="Rectangle 6"/>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8065"/>
            <a:ext cx="5310717" cy="4776296"/>
          </a:xfrm>
        </p:spPr>
        <p:txBody>
          <a:bodyPr/>
          <a:lstStyle>
            <a:lvl1pPr>
              <a:defRPr>
                <a:solidFill>
                  <a:schemeClr val="tx1"/>
                </a:solidFill>
              </a:defRPr>
            </a:lvl1pPr>
          </a:lstStyle>
          <a:p>
            <a:pPr lvl="0" eaLnBrk="1" hangingPunct="1"/>
            <a:r>
              <a:rPr lang="en-US" smtClean="0"/>
              <a:t>Click to edit Master text styles</a:t>
            </a:r>
          </a:p>
        </p:txBody>
      </p:sp>
      <p:sp>
        <p:nvSpPr>
          <p:cNvPr id="8" name="Rectangle 2"/>
          <p:cNvSpPr>
            <a:spLocks noGrp="1" noChangeArrowheads="1"/>
          </p:cNvSpPr>
          <p:nvPr>
            <p:ph type="title"/>
          </p:nvPr>
        </p:nvSpPr>
        <p:spPr>
          <a:xfrm>
            <a:off x="609600" y="502203"/>
            <a:ext cx="5310717" cy="919161"/>
          </a:xfrm>
        </p:spPr>
        <p:txBody>
          <a:bodyPr/>
          <a:lstStyle>
            <a:lvl1pPr>
              <a:defRPr sz="2200">
                <a:solidFill>
                  <a:schemeClr val="tx1"/>
                </a:solidFill>
              </a:defRPr>
            </a:lvl1pPr>
          </a:lstStyle>
          <a:p>
            <a:pPr eaLnBrk="1" hangingPunct="1"/>
            <a:r>
              <a:rPr lang="en-US" smtClean="0"/>
              <a:t>Click to edit Master title style</a:t>
            </a:r>
            <a:endParaRPr lang="da-DK" dirty="0" smtClean="0"/>
          </a:p>
        </p:txBody>
      </p:sp>
      <p:sp>
        <p:nvSpPr>
          <p:cNvPr id="9"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US" dirty="0" smtClean="0"/>
              <a:t>Drag picture to placeholder or click icon to add</a:t>
            </a:r>
            <a:endParaRPr lang="en-GB" dirty="0"/>
          </a:p>
        </p:txBody>
      </p:sp>
    </p:spTree>
    <p:extLst>
      <p:ext uri="{BB962C8B-B14F-4D97-AF65-F5344CB8AC3E}">
        <p14:creationId xmlns:p14="http://schemas.microsoft.com/office/powerpoint/2010/main" val="253211359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Rectangle 5"/>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5" name="Rectangle 4"/>
          <p:cNvSpPr/>
          <p:nvPr userDrawn="1"/>
        </p:nvSpPr>
        <p:spPr>
          <a:xfrm>
            <a:off x="9674034" y="228599"/>
            <a:ext cx="2311400" cy="246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7"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r>
              <a:rPr lang="en-US" dirty="0" smtClean="0"/>
              <a:t>Drag picture to placeholder or click icon to add</a:t>
            </a:r>
            <a:endParaRPr lang="da-DK" dirty="0"/>
          </a:p>
        </p:txBody>
      </p:sp>
    </p:spTree>
    <p:extLst>
      <p:ext uri="{BB962C8B-B14F-4D97-AF65-F5344CB8AC3E}">
        <p14:creationId xmlns:p14="http://schemas.microsoft.com/office/powerpoint/2010/main" val="6692322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777600"/>
          </a:xfrm>
        </p:spPr>
        <p:txBody>
          <a:bodyPr/>
          <a:lstStyle>
            <a:lvl1pPr>
              <a:defRPr sz="2200"/>
            </a:lvl1pPr>
          </a:lstStyle>
          <a:p>
            <a:r>
              <a:rPr lang="en-GB" noProof="0" dirty="0" smtClean="0"/>
              <a:t>Click to edit Master title style</a:t>
            </a:r>
            <a:endParaRPr lang="en-GB" noProof="0" dirty="0"/>
          </a:p>
        </p:txBody>
      </p:sp>
      <p:sp>
        <p:nvSpPr>
          <p:cNvPr id="7" name="Picture Placeholder 6"/>
          <p:cNvSpPr>
            <a:spLocks noGrp="1"/>
          </p:cNvSpPr>
          <p:nvPr>
            <p:ph type="pic" sz="quarter" idx="13"/>
          </p:nvPr>
        </p:nvSpPr>
        <p:spPr>
          <a:xfrm>
            <a:off x="609600" y="476672"/>
            <a:ext cx="5399616" cy="5541264"/>
          </a:xfrm>
        </p:spPr>
        <p:txBody>
          <a:bodyPr/>
          <a:lstStyle>
            <a:lvl1pPr marL="0" indent="0">
              <a:buNone/>
              <a:defRPr/>
            </a:lvl1pPr>
          </a:lstStyle>
          <a:p>
            <a:r>
              <a:rPr lang="en-US" noProof="0" dirty="0" smtClean="0"/>
              <a:t>Click icon to add picture</a:t>
            </a:r>
            <a:endParaRPr lang="en-GB" noProof="0" dirty="0"/>
          </a:p>
        </p:txBody>
      </p:sp>
      <p:sp>
        <p:nvSpPr>
          <p:cNvPr id="11" name="Content Placeholder 10"/>
          <p:cNvSpPr>
            <a:spLocks noGrp="1"/>
          </p:cNvSpPr>
          <p:nvPr>
            <p:ph sz="quarter" idx="14"/>
          </p:nvPr>
        </p:nvSpPr>
        <p:spPr>
          <a:xfrm>
            <a:off x="6504000" y="1724400"/>
            <a:ext cx="5073600" cy="429768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227600351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4082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reak title and subtitle">
    <p:spTree>
      <p:nvGrpSpPr>
        <p:cNvPr id="1" name=""/>
        <p:cNvGrpSpPr/>
        <p:nvPr/>
      </p:nvGrpSpPr>
      <p:grpSpPr>
        <a:xfrm>
          <a:off x="0" y="0"/>
          <a:ext cx="0" cy="0"/>
          <a:chOff x="0" y="0"/>
          <a:chExt cx="0" cy="0"/>
        </a:xfrm>
      </p:grpSpPr>
      <p:sp>
        <p:nvSpPr>
          <p:cNvPr id="3"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tx1"/>
                </a:solidFill>
                <a:latin typeface="+mj-lt"/>
              </a:defRPr>
            </a:lvl1pPr>
          </a:lstStyle>
          <a:p>
            <a:r>
              <a:rPr lang="en-GB" noProof="0" dirty="0" smtClean="0"/>
              <a:t>Click to edit Master title style</a:t>
            </a:r>
            <a:endParaRPr lang="en-GB" noProof="0" dirty="0"/>
          </a:p>
        </p:txBody>
      </p:sp>
      <p:sp>
        <p:nvSpPr>
          <p:cNvPr id="4"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tx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endParaRPr lang="en-GB" noProof="0" dirty="0"/>
          </a:p>
        </p:txBody>
      </p:sp>
    </p:spTree>
    <p:extLst>
      <p:ext uri="{BB962C8B-B14F-4D97-AF65-F5344CB8AC3E}">
        <p14:creationId xmlns:p14="http://schemas.microsoft.com/office/powerpoint/2010/main" val="113079883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206028888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37008239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Content Placeholder 2"/>
          <p:cNvSpPr>
            <a:spLocks noGrp="1"/>
          </p:cNvSpPr>
          <p:nvPr>
            <p:ph sz="half" idx="1"/>
          </p:nvPr>
        </p:nvSpPr>
        <p:spPr>
          <a:xfrm>
            <a:off x="609599" y="1516064"/>
            <a:ext cx="5399617" cy="4507992"/>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Content Placeholder 3"/>
          <p:cNvSpPr>
            <a:spLocks noGrp="1"/>
          </p:cNvSpPr>
          <p:nvPr>
            <p:ph sz="half" idx="2"/>
          </p:nvPr>
        </p:nvSpPr>
        <p:spPr>
          <a:xfrm>
            <a:off x="6189133" y="1516064"/>
            <a:ext cx="5400000" cy="4507992"/>
          </a:xfr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306984429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777600"/>
          </a:xfrm>
        </p:spPr>
        <p:txBody>
          <a:bodyPr/>
          <a:lstStyle>
            <a:lvl1pPr>
              <a:defRPr sz="2200"/>
            </a:lvl1pPr>
          </a:lstStyle>
          <a:p>
            <a:r>
              <a:rPr lang="en-GB" noProof="0" dirty="0" smtClean="0"/>
              <a:t>Click to edit Master title style</a:t>
            </a:r>
            <a:endParaRPr lang="en-GB" noProof="0" dirty="0"/>
          </a:p>
        </p:txBody>
      </p:sp>
      <p:sp>
        <p:nvSpPr>
          <p:cNvPr id="7" name="Picture Placeholder 6"/>
          <p:cNvSpPr>
            <a:spLocks noGrp="1"/>
          </p:cNvSpPr>
          <p:nvPr>
            <p:ph type="pic" sz="quarter" idx="13"/>
          </p:nvPr>
        </p:nvSpPr>
        <p:spPr>
          <a:xfrm>
            <a:off x="623392" y="476672"/>
            <a:ext cx="5385824" cy="5541264"/>
          </a:xfrm>
        </p:spPr>
        <p:txBody>
          <a:bodyPr/>
          <a:lstStyle>
            <a:lvl1pPr marL="0" indent="0">
              <a:buNone/>
              <a:defRPr/>
            </a:lvl1pPr>
          </a:lstStyle>
          <a:p>
            <a:r>
              <a:rPr lang="en-US" noProof="0" dirty="0" smtClean="0"/>
              <a:t>Click icon to add picture</a:t>
            </a:r>
            <a:endParaRPr lang="en-GB" noProof="0" dirty="0"/>
          </a:p>
        </p:txBody>
      </p:sp>
      <p:sp>
        <p:nvSpPr>
          <p:cNvPr id="11" name="Content Placeholder 10"/>
          <p:cNvSpPr>
            <a:spLocks noGrp="1"/>
          </p:cNvSpPr>
          <p:nvPr>
            <p:ph sz="quarter" idx="14"/>
          </p:nvPr>
        </p:nvSpPr>
        <p:spPr>
          <a:xfrm>
            <a:off x="6504000" y="1724400"/>
            <a:ext cx="5073600" cy="429768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2936300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9" name="Rectangle 8"/>
          <p:cNvSpPr/>
          <p:nvPr userDrawn="1"/>
        </p:nvSpPr>
        <p:spPr bwMode="white">
          <a:xfrm>
            <a:off x="10160000" y="6172200"/>
            <a:ext cx="1930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10" name="Rectangle 9"/>
          <p:cNvSpPr/>
          <p:nvPr userDrawn="1"/>
        </p:nvSpPr>
        <p:spPr>
          <a:xfrm>
            <a:off x="9589177" y="5513891"/>
            <a:ext cx="2459567" cy="8382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3906"/>
            <a:ext cx="5315712" cy="4773168"/>
          </a:xfrm>
        </p:spPr>
        <p:txBody>
          <a:bodyPr/>
          <a:lstStyle/>
          <a:p>
            <a:pPr lvl="0" eaLnBrk="1" hangingPunct="1"/>
            <a:r>
              <a:rPr lang="en-GB" dirty="0" smtClean="0"/>
              <a:t>Click to edit Master text styles</a:t>
            </a:r>
          </a:p>
        </p:txBody>
      </p:sp>
      <p:sp>
        <p:nvSpPr>
          <p:cNvPr id="8" name="Rectangle 2"/>
          <p:cNvSpPr>
            <a:spLocks noGrp="1" noChangeArrowheads="1"/>
          </p:cNvSpPr>
          <p:nvPr>
            <p:ph type="title"/>
          </p:nvPr>
        </p:nvSpPr>
        <p:spPr>
          <a:xfrm>
            <a:off x="609600" y="493714"/>
            <a:ext cx="5315712" cy="919162"/>
          </a:xfrm>
        </p:spPr>
        <p:txBody>
          <a:bodyPr/>
          <a:lstStyle>
            <a:lvl1pPr>
              <a:defRPr sz="2200"/>
            </a:lvl1pPr>
          </a:lstStyle>
          <a:p>
            <a:pPr eaLnBrk="1" hangingPunct="1"/>
            <a:r>
              <a:rPr lang="en-GB" dirty="0" smtClean="0"/>
              <a:t>Click to edit Master title style</a:t>
            </a:r>
          </a:p>
        </p:txBody>
      </p:sp>
      <p:sp>
        <p:nvSpPr>
          <p:cNvPr id="11"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US" dirty="0" smtClean="0"/>
              <a:t>Click icon to add picture</a:t>
            </a:r>
            <a:endParaRPr lang="en-GB" dirty="0"/>
          </a:p>
        </p:txBody>
      </p:sp>
    </p:spTree>
    <p:extLst>
      <p:ext uri="{BB962C8B-B14F-4D97-AF65-F5344CB8AC3E}">
        <p14:creationId xmlns:p14="http://schemas.microsoft.com/office/powerpoint/2010/main" val="371066442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Rectangle 5"/>
          <p:cNvSpPr/>
          <p:nvPr userDrawn="1"/>
        </p:nvSpPr>
        <p:spPr>
          <a:xfrm>
            <a:off x="9674034" y="228599"/>
            <a:ext cx="2311400" cy="24605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5" name="Rectangle 4"/>
          <p:cNvSpPr/>
          <p:nvPr userDrawn="1"/>
        </p:nvSpPr>
        <p:spPr>
          <a:xfrm>
            <a:off x="143256" y="5419341"/>
            <a:ext cx="11905488" cy="129489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7"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endParaRPr lang="da-DK" dirty="0"/>
          </a:p>
        </p:txBody>
      </p:sp>
    </p:spTree>
    <p:extLst>
      <p:ext uri="{BB962C8B-B14F-4D97-AF65-F5344CB8AC3E}">
        <p14:creationId xmlns:p14="http://schemas.microsoft.com/office/powerpoint/2010/main" val="83814958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35438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dt" sz="half" idx="10"/>
          </p:nvPr>
        </p:nvSpPr>
        <p:spPr>
          <a:xfrm>
            <a:off x="4692651" y="6548440"/>
            <a:ext cx="3996267" cy="179387"/>
          </a:xfrm>
          <a:prstGeom prst="rect">
            <a:avLst/>
          </a:prstGeom>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4" name="Rectangle 8"/>
          <p:cNvSpPr>
            <a:spLocks noGrp="1" noChangeArrowheads="1"/>
          </p:cNvSpPr>
          <p:nvPr>
            <p:ph type="sldNum" sz="quarter" idx="11"/>
          </p:nvPr>
        </p:nvSpPr>
        <p:spPr>
          <a:xfrm>
            <a:off x="812800" y="6548440"/>
            <a:ext cx="1439333" cy="179387"/>
          </a:xfrm>
          <a:prstGeom prst="rect">
            <a:avLst/>
          </a:prstGeom>
          <a:ln/>
        </p:spPr>
        <p:txBody>
          <a:bodyPr/>
          <a:lstStyle>
            <a:lvl1pPr>
              <a:defRPr/>
            </a:lvl1pPr>
          </a:lstStyle>
          <a:p>
            <a:pPr>
              <a:defRPr/>
            </a:pPr>
            <a:r>
              <a:rPr lang="en-GB" dirty="0">
                <a:solidFill>
                  <a:prstClr val="black"/>
                </a:solidFill>
              </a:rPr>
              <a:t>Slide no. </a:t>
            </a:r>
            <a:fld id="{4B2DB91A-6E11-4993-A18E-DD7302448E9D}" type="slidenum">
              <a:rPr lang="en-GB">
                <a:solidFill>
                  <a:prstClr val="black"/>
                </a:solidFill>
              </a:rPr>
              <a:pPr>
                <a:defRPr/>
              </a:pPr>
              <a:t>‹#›</a:t>
            </a:fld>
            <a:endParaRPr lang="en-GB" dirty="0">
              <a:solidFill>
                <a:prstClr val="black"/>
              </a:solidFill>
            </a:endParaRPr>
          </a:p>
        </p:txBody>
      </p:sp>
      <p:sp>
        <p:nvSpPr>
          <p:cNvPr id="5" name="Rectangle 10"/>
          <p:cNvSpPr>
            <a:spLocks noGrp="1" noChangeArrowheads="1"/>
          </p:cNvSpPr>
          <p:nvPr>
            <p:ph type="ftr" sz="quarter" idx="12"/>
          </p:nvPr>
        </p:nvSpPr>
        <p:spPr>
          <a:xfrm>
            <a:off x="766235" y="6548440"/>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428433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5" name="Rectangle 4"/>
          <p:cNvSpPr/>
          <p:nvPr userDrawn="1"/>
        </p:nvSpPr>
        <p:spPr bwMode="white">
          <a:xfrm>
            <a:off x="10160000" y="6172200"/>
            <a:ext cx="1930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3906"/>
            <a:ext cx="5310717" cy="4773168"/>
          </a:xfrm>
        </p:spPr>
        <p:txBody>
          <a:bodyPr/>
          <a:lstStyle/>
          <a:p>
            <a:pPr lvl="0" eaLnBrk="1" hangingPunct="1"/>
            <a:r>
              <a:rPr lang="en-GB" dirty="0" smtClean="0"/>
              <a:t>Click to edit Master text styles</a:t>
            </a:r>
          </a:p>
        </p:txBody>
      </p:sp>
      <p:sp>
        <p:nvSpPr>
          <p:cNvPr id="8" name="Rectangle 2"/>
          <p:cNvSpPr>
            <a:spLocks noGrp="1" noChangeArrowheads="1"/>
          </p:cNvSpPr>
          <p:nvPr>
            <p:ph type="title"/>
          </p:nvPr>
        </p:nvSpPr>
        <p:spPr>
          <a:xfrm>
            <a:off x="609600" y="493715"/>
            <a:ext cx="5310717" cy="919161"/>
          </a:xfrm>
        </p:spPr>
        <p:txBody>
          <a:bodyPr/>
          <a:lstStyle>
            <a:lvl1pPr>
              <a:defRPr sz="2200">
                <a:latin typeface="+mj-lt"/>
              </a:defRPr>
            </a:lvl1pPr>
          </a:lstStyle>
          <a:p>
            <a:pPr eaLnBrk="1" hangingPunct="1"/>
            <a:r>
              <a:rPr lang="en-GB" dirty="0" smtClean="0"/>
              <a:t>Click to edit Master title style</a:t>
            </a:r>
          </a:p>
        </p:txBody>
      </p:sp>
      <p:sp>
        <p:nvSpPr>
          <p:cNvPr id="7" name="Rectangle 6"/>
          <p:cNvSpPr/>
          <p:nvPr userDrawn="1"/>
        </p:nvSpPr>
        <p:spPr>
          <a:xfrm>
            <a:off x="9589177" y="5513891"/>
            <a:ext cx="2459567" cy="838200"/>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9"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US" dirty="0" smtClean="0"/>
              <a:t>Click icon to add picture</a:t>
            </a:r>
            <a:endParaRPr lang="en-GB" dirty="0"/>
          </a:p>
        </p:txBody>
      </p:sp>
    </p:spTree>
    <p:extLst>
      <p:ext uri="{BB962C8B-B14F-4D97-AF65-F5344CB8AC3E}">
        <p14:creationId xmlns:p14="http://schemas.microsoft.com/office/powerpoint/2010/main" val="223586202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reak title and subtitle">
    <p:spTree>
      <p:nvGrpSpPr>
        <p:cNvPr id="1" name=""/>
        <p:cNvGrpSpPr/>
        <p:nvPr/>
      </p:nvGrpSpPr>
      <p:grpSpPr>
        <a:xfrm>
          <a:off x="0" y="0"/>
          <a:ext cx="0" cy="0"/>
          <a:chOff x="0" y="0"/>
          <a:chExt cx="0" cy="0"/>
        </a:xfrm>
      </p:grpSpPr>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tx1"/>
                </a:solidFill>
                <a:latin typeface="+mj-lt"/>
              </a:defRPr>
            </a:lvl1pPr>
          </a:lstStyle>
          <a:p>
            <a:r>
              <a:rPr lang="en-GB" noProof="0" dirty="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tx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endParaRPr lang="en-GB" noProof="0" dirty="0"/>
          </a:p>
        </p:txBody>
      </p:sp>
    </p:spTree>
    <p:extLst>
      <p:ext uri="{BB962C8B-B14F-4D97-AF65-F5344CB8AC3E}">
        <p14:creationId xmlns:p14="http://schemas.microsoft.com/office/powerpoint/2010/main" val="143700305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268731816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183068575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dirty="0" smtClean="0"/>
              <a:t>Click to edit Master title style</a:t>
            </a:r>
            <a:endParaRPr lang="en-GB" noProof="0" dirty="0"/>
          </a:p>
        </p:txBody>
      </p:sp>
      <p:sp>
        <p:nvSpPr>
          <p:cNvPr id="3" name="Content Placeholder 2"/>
          <p:cNvSpPr>
            <a:spLocks noGrp="1"/>
          </p:cNvSpPr>
          <p:nvPr>
            <p:ph sz="half" idx="1"/>
          </p:nvPr>
        </p:nvSpPr>
        <p:spPr>
          <a:xfrm>
            <a:off x="609599" y="1516063"/>
            <a:ext cx="5399617"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Content Placeholder 3"/>
          <p:cNvSpPr>
            <a:spLocks noGrp="1"/>
          </p:cNvSpPr>
          <p:nvPr>
            <p:ph sz="half" idx="2"/>
          </p:nvPr>
        </p:nvSpPr>
        <p:spPr>
          <a:xfrm>
            <a:off x="6189133" y="1516063"/>
            <a:ext cx="5400000"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284855081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830450"/>
          </a:xfrm>
        </p:spPr>
        <p:txBody>
          <a:bodyPr/>
          <a:lstStyle>
            <a:lvl1pPr>
              <a:defRPr sz="2200">
                <a:solidFill>
                  <a:schemeClr val="tx1"/>
                </a:solidFill>
              </a:defRPr>
            </a:lvl1pPr>
          </a:lstStyle>
          <a:p>
            <a:r>
              <a:rPr lang="en-GB" noProof="0" dirty="0" smtClean="0"/>
              <a:t>Click to edit Master title style</a:t>
            </a:r>
            <a:endParaRPr lang="en-GB" noProof="0" dirty="0"/>
          </a:p>
        </p:txBody>
      </p:sp>
      <p:sp>
        <p:nvSpPr>
          <p:cNvPr id="7" name="Picture Placeholder 6"/>
          <p:cNvSpPr>
            <a:spLocks noGrp="1"/>
          </p:cNvSpPr>
          <p:nvPr>
            <p:ph type="pic" sz="quarter" idx="13"/>
          </p:nvPr>
        </p:nvSpPr>
        <p:spPr>
          <a:xfrm>
            <a:off x="609600" y="478110"/>
            <a:ext cx="5399616" cy="5543128"/>
          </a:xfrm>
        </p:spPr>
        <p:txBody>
          <a:bodyPr/>
          <a:lstStyle>
            <a:lvl1pPr marL="0" indent="0">
              <a:buNone/>
              <a:defRPr/>
            </a:lvl1pPr>
          </a:lstStyle>
          <a:p>
            <a:r>
              <a:rPr lang="en-GB" noProof="0" dirty="0" smtClean="0"/>
              <a:t>Click icon to add picture</a:t>
            </a:r>
            <a:endParaRPr lang="en-GB" noProof="0" dirty="0"/>
          </a:p>
        </p:txBody>
      </p:sp>
      <p:sp>
        <p:nvSpPr>
          <p:cNvPr id="11" name="Content Placeholder 10"/>
          <p:cNvSpPr>
            <a:spLocks noGrp="1"/>
          </p:cNvSpPr>
          <p:nvPr>
            <p:ph sz="quarter" idx="14"/>
          </p:nvPr>
        </p:nvSpPr>
        <p:spPr>
          <a:xfrm>
            <a:off x="6504000" y="1724399"/>
            <a:ext cx="5073600" cy="42968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41391307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7" name="Rectangle 6"/>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8065"/>
            <a:ext cx="5310717" cy="4776296"/>
          </a:xfrm>
        </p:spPr>
        <p:txBody>
          <a:bodyPr/>
          <a:lstStyle>
            <a:lvl1pPr>
              <a:defRPr>
                <a:solidFill>
                  <a:schemeClr val="tx1"/>
                </a:solidFill>
              </a:defRPr>
            </a:lvl1pPr>
          </a:lstStyle>
          <a:p>
            <a:pPr lvl="0" eaLnBrk="1" hangingPunct="1"/>
            <a:r>
              <a:rPr lang="en-GB" dirty="0" smtClean="0"/>
              <a:t>Click to edit Master text styles</a:t>
            </a:r>
          </a:p>
        </p:txBody>
      </p:sp>
      <p:sp>
        <p:nvSpPr>
          <p:cNvPr id="8" name="Rectangle 2"/>
          <p:cNvSpPr>
            <a:spLocks noGrp="1" noChangeArrowheads="1"/>
          </p:cNvSpPr>
          <p:nvPr>
            <p:ph type="title"/>
          </p:nvPr>
        </p:nvSpPr>
        <p:spPr>
          <a:xfrm>
            <a:off x="609600" y="502203"/>
            <a:ext cx="5310717" cy="919161"/>
          </a:xfrm>
        </p:spPr>
        <p:txBody>
          <a:bodyPr/>
          <a:lstStyle>
            <a:lvl1pPr>
              <a:defRPr sz="2200">
                <a:solidFill>
                  <a:schemeClr val="tx1"/>
                </a:solidFill>
              </a:defRPr>
            </a:lvl1pPr>
          </a:lstStyle>
          <a:p>
            <a:pPr eaLnBrk="1" hangingPunct="1"/>
            <a:r>
              <a:rPr lang="en-GB" dirty="0" smtClean="0"/>
              <a:t>Click to edit Master title style</a:t>
            </a:r>
          </a:p>
        </p:txBody>
      </p:sp>
      <p:sp>
        <p:nvSpPr>
          <p:cNvPr id="9"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GB" dirty="0" smtClean="0"/>
              <a:t>Click icon to add picture</a:t>
            </a:r>
            <a:endParaRPr lang="en-GB" dirty="0"/>
          </a:p>
        </p:txBody>
      </p:sp>
    </p:spTree>
    <p:extLst>
      <p:ext uri="{BB962C8B-B14F-4D97-AF65-F5344CB8AC3E}">
        <p14:creationId xmlns:p14="http://schemas.microsoft.com/office/powerpoint/2010/main" val="227997190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Rectangle 5"/>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5" name="Rectangle 4"/>
          <p:cNvSpPr/>
          <p:nvPr userDrawn="1"/>
        </p:nvSpPr>
        <p:spPr>
          <a:xfrm>
            <a:off x="9674034" y="228599"/>
            <a:ext cx="2311400" cy="246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7"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r>
              <a:rPr lang="en-GB" dirty="0" smtClean="0"/>
              <a:t>Click icon to add picture</a:t>
            </a:r>
            <a:endParaRPr lang="en-GB" dirty="0"/>
          </a:p>
        </p:txBody>
      </p:sp>
    </p:spTree>
    <p:extLst>
      <p:ext uri="{BB962C8B-B14F-4D97-AF65-F5344CB8AC3E}">
        <p14:creationId xmlns:p14="http://schemas.microsoft.com/office/powerpoint/2010/main" val="403181905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63664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 title and subtitle">
    <p:spTree>
      <p:nvGrpSpPr>
        <p:cNvPr id="1" name=""/>
        <p:cNvGrpSpPr/>
        <p:nvPr/>
      </p:nvGrpSpPr>
      <p:grpSpPr>
        <a:xfrm>
          <a:off x="0" y="0"/>
          <a:ext cx="0" cy="0"/>
          <a:chOff x="0" y="0"/>
          <a:chExt cx="0" cy="0"/>
        </a:xfrm>
      </p:grpSpPr>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tx1"/>
                </a:solidFill>
                <a:latin typeface="+mj-lt"/>
              </a:defRPr>
            </a:lvl1pPr>
          </a:lstStyle>
          <a:p>
            <a:r>
              <a:rPr lang="en-GB" noProof="0" dirty="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tx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endParaRPr lang="en-GB" noProof="0" dirty="0"/>
          </a:p>
        </p:txBody>
      </p:sp>
    </p:spTree>
    <p:extLst>
      <p:ext uri="{BB962C8B-B14F-4D97-AF65-F5344CB8AC3E}">
        <p14:creationId xmlns:p14="http://schemas.microsoft.com/office/powerpoint/2010/main" val="295321328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109167618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endParaRPr lang="da-DK" dirty="0"/>
          </a:p>
        </p:txBody>
      </p:sp>
      <p:sp>
        <p:nvSpPr>
          <p:cNvPr id="6" name="Rectangle 5"/>
          <p:cNvSpPr/>
          <p:nvPr userDrawn="1"/>
        </p:nvSpPr>
        <p:spPr>
          <a:xfrm>
            <a:off x="9674034" y="228599"/>
            <a:ext cx="2311400" cy="246057"/>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5" name="Rectangle 4"/>
          <p:cNvSpPr/>
          <p:nvPr userDrawn="1"/>
        </p:nvSpPr>
        <p:spPr>
          <a:xfrm>
            <a:off x="143256" y="5419341"/>
            <a:ext cx="11905488" cy="1294897"/>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Tree>
    <p:extLst>
      <p:ext uri="{BB962C8B-B14F-4D97-AF65-F5344CB8AC3E}">
        <p14:creationId xmlns:p14="http://schemas.microsoft.com/office/powerpoint/2010/main" val="177746526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dirty="0" smtClean="0"/>
              <a:t>Click to edit Master title style</a:t>
            </a:r>
            <a:endParaRPr lang="en-GB" noProof="0" dirty="0"/>
          </a:p>
        </p:txBody>
      </p:sp>
    </p:spTree>
    <p:extLst>
      <p:ext uri="{BB962C8B-B14F-4D97-AF65-F5344CB8AC3E}">
        <p14:creationId xmlns:p14="http://schemas.microsoft.com/office/powerpoint/2010/main" val="154348167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GB" noProof="0" dirty="0" smtClean="0"/>
              <a:t>Click to edit Master title style</a:t>
            </a:r>
            <a:endParaRPr lang="en-GB" noProof="0" dirty="0"/>
          </a:p>
        </p:txBody>
      </p:sp>
      <p:sp>
        <p:nvSpPr>
          <p:cNvPr id="3" name="Content Placeholder 2"/>
          <p:cNvSpPr>
            <a:spLocks noGrp="1"/>
          </p:cNvSpPr>
          <p:nvPr>
            <p:ph sz="half" idx="1"/>
          </p:nvPr>
        </p:nvSpPr>
        <p:spPr>
          <a:xfrm>
            <a:off x="609599" y="1516063"/>
            <a:ext cx="5399617"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Content Placeholder 3"/>
          <p:cNvSpPr>
            <a:spLocks noGrp="1"/>
          </p:cNvSpPr>
          <p:nvPr>
            <p:ph sz="half" idx="2"/>
          </p:nvPr>
        </p:nvSpPr>
        <p:spPr>
          <a:xfrm>
            <a:off x="6189133" y="1516063"/>
            <a:ext cx="5400000"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96059491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830450"/>
          </a:xfrm>
        </p:spPr>
        <p:txBody>
          <a:bodyPr/>
          <a:lstStyle>
            <a:lvl1pPr>
              <a:defRPr sz="2200">
                <a:solidFill>
                  <a:schemeClr val="tx1"/>
                </a:solidFill>
              </a:defRPr>
            </a:lvl1pPr>
          </a:lstStyle>
          <a:p>
            <a:r>
              <a:rPr lang="en-GB" noProof="0" dirty="0" smtClean="0"/>
              <a:t>Click to edit Master title style</a:t>
            </a:r>
            <a:endParaRPr lang="en-GB" noProof="0" dirty="0"/>
          </a:p>
        </p:txBody>
      </p:sp>
      <p:sp>
        <p:nvSpPr>
          <p:cNvPr id="7" name="Picture Placeholder 6"/>
          <p:cNvSpPr>
            <a:spLocks noGrp="1"/>
          </p:cNvSpPr>
          <p:nvPr>
            <p:ph type="pic" sz="quarter" idx="13"/>
          </p:nvPr>
        </p:nvSpPr>
        <p:spPr>
          <a:xfrm>
            <a:off x="609600" y="478110"/>
            <a:ext cx="5399616" cy="5543128"/>
          </a:xfrm>
        </p:spPr>
        <p:txBody>
          <a:bodyPr/>
          <a:lstStyle>
            <a:lvl1pPr marL="0" indent="0">
              <a:buNone/>
              <a:defRPr/>
            </a:lvl1pPr>
          </a:lstStyle>
          <a:p>
            <a:r>
              <a:rPr lang="en-US" noProof="0" dirty="0" smtClean="0"/>
              <a:t>Click icon to add picture</a:t>
            </a:r>
            <a:endParaRPr lang="en-GB" noProof="0" dirty="0"/>
          </a:p>
        </p:txBody>
      </p:sp>
      <p:sp>
        <p:nvSpPr>
          <p:cNvPr id="11" name="Content Placeholder 10"/>
          <p:cNvSpPr>
            <a:spLocks noGrp="1"/>
          </p:cNvSpPr>
          <p:nvPr>
            <p:ph sz="quarter" idx="14"/>
          </p:nvPr>
        </p:nvSpPr>
        <p:spPr>
          <a:xfrm>
            <a:off x="6504000" y="1724399"/>
            <a:ext cx="5073600" cy="42968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41089935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7" name="Rectangle 6"/>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8065"/>
            <a:ext cx="5310717" cy="4776296"/>
          </a:xfrm>
        </p:spPr>
        <p:txBody>
          <a:bodyPr/>
          <a:lstStyle>
            <a:lvl1pPr>
              <a:defRPr>
                <a:solidFill>
                  <a:schemeClr val="tx1"/>
                </a:solidFill>
              </a:defRPr>
            </a:lvl1pPr>
          </a:lstStyle>
          <a:p>
            <a:pPr lvl="0" eaLnBrk="1" hangingPunct="1"/>
            <a:r>
              <a:rPr lang="en-GB" dirty="0" smtClean="0"/>
              <a:t>Click to edit Master text styles</a:t>
            </a:r>
          </a:p>
        </p:txBody>
      </p:sp>
      <p:sp>
        <p:nvSpPr>
          <p:cNvPr id="8" name="Rectangle 2"/>
          <p:cNvSpPr>
            <a:spLocks noGrp="1" noChangeArrowheads="1"/>
          </p:cNvSpPr>
          <p:nvPr>
            <p:ph type="title"/>
          </p:nvPr>
        </p:nvSpPr>
        <p:spPr>
          <a:xfrm>
            <a:off x="609600" y="502203"/>
            <a:ext cx="5310717" cy="919161"/>
          </a:xfrm>
        </p:spPr>
        <p:txBody>
          <a:bodyPr/>
          <a:lstStyle>
            <a:lvl1pPr>
              <a:defRPr sz="2200">
                <a:solidFill>
                  <a:schemeClr val="tx1"/>
                </a:solidFill>
              </a:defRPr>
            </a:lvl1pPr>
          </a:lstStyle>
          <a:p>
            <a:pPr eaLnBrk="1" hangingPunct="1"/>
            <a:r>
              <a:rPr lang="en-GB" dirty="0" smtClean="0"/>
              <a:t>Click to edit Master title style</a:t>
            </a:r>
          </a:p>
        </p:txBody>
      </p:sp>
      <p:sp>
        <p:nvSpPr>
          <p:cNvPr id="9"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US" dirty="0" smtClean="0"/>
              <a:t>Click icon to add picture</a:t>
            </a:r>
            <a:endParaRPr lang="en-GB" dirty="0"/>
          </a:p>
        </p:txBody>
      </p:sp>
    </p:spTree>
    <p:extLst>
      <p:ext uri="{BB962C8B-B14F-4D97-AF65-F5344CB8AC3E}">
        <p14:creationId xmlns:p14="http://schemas.microsoft.com/office/powerpoint/2010/main" val="223507725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Rectangle 5"/>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5" name="Rectangle 4"/>
          <p:cNvSpPr/>
          <p:nvPr userDrawn="1"/>
        </p:nvSpPr>
        <p:spPr>
          <a:xfrm>
            <a:off x="9674034" y="228599"/>
            <a:ext cx="2311400" cy="246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7"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r>
              <a:rPr lang="en-US" dirty="0" smtClean="0"/>
              <a:t>Click icon to add picture</a:t>
            </a:r>
            <a:endParaRPr lang="da-DK" dirty="0"/>
          </a:p>
        </p:txBody>
      </p:sp>
    </p:spTree>
    <p:extLst>
      <p:ext uri="{BB962C8B-B14F-4D97-AF65-F5344CB8AC3E}">
        <p14:creationId xmlns:p14="http://schemas.microsoft.com/office/powerpoint/2010/main" val="207706176"/>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2729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over_White">
    <p:spTree>
      <p:nvGrpSpPr>
        <p:cNvPr id="1" name=""/>
        <p:cNvGrpSpPr/>
        <p:nvPr/>
      </p:nvGrpSpPr>
      <p:grpSpPr>
        <a:xfrm>
          <a:off x="0" y="0"/>
          <a:ext cx="0" cy="0"/>
          <a:chOff x="0" y="0"/>
          <a:chExt cx="0" cy="0"/>
        </a:xfrm>
      </p:grpSpPr>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tx1"/>
                </a:solidFill>
                <a:latin typeface="+mj-lt"/>
              </a:defRPr>
            </a:lvl1pPr>
          </a:lstStyle>
          <a:p>
            <a:r>
              <a:rPr lang="en-US" noProof="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tx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a:p>
        </p:txBody>
      </p:sp>
    </p:spTree>
    <p:extLst>
      <p:ext uri="{BB962C8B-B14F-4D97-AF65-F5344CB8AC3E}">
        <p14:creationId xmlns:p14="http://schemas.microsoft.com/office/powerpoint/2010/main" val="104479139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reak title and subtitle">
    <p:spTree>
      <p:nvGrpSpPr>
        <p:cNvPr id="1" name=""/>
        <p:cNvGrpSpPr/>
        <p:nvPr/>
      </p:nvGrpSpPr>
      <p:grpSpPr>
        <a:xfrm>
          <a:off x="0" y="0"/>
          <a:ext cx="0" cy="0"/>
          <a:chOff x="0" y="0"/>
          <a:chExt cx="0" cy="0"/>
        </a:xfrm>
      </p:grpSpPr>
      <p:sp>
        <p:nvSpPr>
          <p:cNvPr id="4" name="Title 1"/>
          <p:cNvSpPr>
            <a:spLocks noGrp="1"/>
          </p:cNvSpPr>
          <p:nvPr>
            <p:ph type="ctrTitle"/>
          </p:nvPr>
        </p:nvSpPr>
        <p:spPr>
          <a:xfrm>
            <a:off x="657600" y="3344213"/>
            <a:ext cx="9374837" cy="1371600"/>
          </a:xfrm>
        </p:spPr>
        <p:txBody>
          <a:bodyPr lIns="90000" tIns="46800" rIns="90000" bIns="46800" anchor="b" anchorCtr="0"/>
          <a:lstStyle>
            <a:lvl1pPr>
              <a:defRPr sz="3800" cap="all" baseline="0">
                <a:solidFill>
                  <a:schemeClr val="tx1"/>
                </a:solidFill>
                <a:latin typeface="+mj-lt"/>
              </a:defRPr>
            </a:lvl1pPr>
          </a:lstStyle>
          <a:p>
            <a:r>
              <a:rPr lang="en-US" noProof="0" smtClean="0"/>
              <a:t>Click to edit Master title style</a:t>
            </a:r>
            <a:endParaRPr lang="en-GB" noProof="0" dirty="0"/>
          </a:p>
        </p:txBody>
      </p:sp>
      <p:sp>
        <p:nvSpPr>
          <p:cNvPr id="5" name="Subtitle 2"/>
          <p:cNvSpPr>
            <a:spLocks noGrp="1"/>
          </p:cNvSpPr>
          <p:nvPr>
            <p:ph type="subTitle" idx="1"/>
          </p:nvPr>
        </p:nvSpPr>
        <p:spPr>
          <a:xfrm>
            <a:off x="657600" y="4716001"/>
            <a:ext cx="9375400" cy="340735"/>
          </a:xfrm>
        </p:spPr>
        <p:txBody>
          <a:bodyPr wrap="square" lIns="90000" tIns="46800" rIns="90000" bIns="46800">
            <a:spAutoFit/>
          </a:bodyPr>
          <a:lstStyle>
            <a:lvl1pPr marL="0" indent="0" algn="l">
              <a:buNone/>
              <a:defRPr sz="1600" spc="40" baseline="0">
                <a:solidFill>
                  <a:schemeClr val="tx1"/>
                </a:solidFill>
                <a:latin typeface="Zetta Sans" panose="020B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dirty="0"/>
          </a:p>
        </p:txBody>
      </p:sp>
    </p:spTree>
    <p:extLst>
      <p:ext uri="{BB962C8B-B14F-4D97-AF65-F5344CB8AC3E}">
        <p14:creationId xmlns:p14="http://schemas.microsoft.com/office/powerpoint/2010/main" val="2835834416"/>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idx="1"/>
          </p:nvPr>
        </p:nvSpPr>
        <p:spPr>
          <a:xfrm>
            <a:off x="609600" y="1516063"/>
            <a:ext cx="10972800" cy="450799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07836844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Tree>
    <p:extLst>
      <p:ext uri="{BB962C8B-B14F-4D97-AF65-F5344CB8AC3E}">
        <p14:creationId xmlns:p14="http://schemas.microsoft.com/office/powerpoint/2010/main" val="34526145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83709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itle and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noProof="0" smtClean="0"/>
              <a:t>Click to edit Master title style</a:t>
            </a:r>
            <a:endParaRPr lang="en-GB" noProof="0" dirty="0"/>
          </a:p>
        </p:txBody>
      </p:sp>
      <p:sp>
        <p:nvSpPr>
          <p:cNvPr id="3" name="Content Placeholder 2"/>
          <p:cNvSpPr>
            <a:spLocks noGrp="1"/>
          </p:cNvSpPr>
          <p:nvPr>
            <p:ph sz="half" idx="1"/>
          </p:nvPr>
        </p:nvSpPr>
        <p:spPr>
          <a:xfrm>
            <a:off x="609599" y="1516063"/>
            <a:ext cx="5399617"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Content Placeholder 3"/>
          <p:cNvSpPr>
            <a:spLocks noGrp="1"/>
          </p:cNvSpPr>
          <p:nvPr>
            <p:ph sz="half" idx="2"/>
          </p:nvPr>
        </p:nvSpPr>
        <p:spPr>
          <a:xfrm>
            <a:off x="6189133" y="1516063"/>
            <a:ext cx="5400000" cy="4507992"/>
          </a:xfrm>
        </p:spPr>
        <p:txBody>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410833534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Picture,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6504000" y="738000"/>
            <a:ext cx="5073600" cy="830450"/>
          </a:xfrm>
        </p:spPr>
        <p:txBody>
          <a:bodyPr/>
          <a:lstStyle>
            <a:lvl1pPr>
              <a:defRPr sz="2200">
                <a:solidFill>
                  <a:schemeClr val="tx1"/>
                </a:solidFill>
              </a:defRPr>
            </a:lvl1pPr>
          </a:lstStyle>
          <a:p>
            <a:r>
              <a:rPr lang="en-US" noProof="0" smtClean="0"/>
              <a:t>Click to edit Master title style</a:t>
            </a:r>
            <a:endParaRPr lang="en-GB" noProof="0" dirty="0"/>
          </a:p>
        </p:txBody>
      </p:sp>
      <p:sp>
        <p:nvSpPr>
          <p:cNvPr id="7" name="Picture Placeholder 6"/>
          <p:cNvSpPr>
            <a:spLocks noGrp="1"/>
          </p:cNvSpPr>
          <p:nvPr>
            <p:ph type="pic" sz="quarter" idx="13"/>
          </p:nvPr>
        </p:nvSpPr>
        <p:spPr>
          <a:xfrm>
            <a:off x="609600" y="478110"/>
            <a:ext cx="5399616" cy="5543128"/>
          </a:xfrm>
        </p:spPr>
        <p:txBody>
          <a:bodyPr/>
          <a:lstStyle>
            <a:lvl1pPr marL="0" indent="0">
              <a:buNone/>
              <a:defRPr/>
            </a:lvl1pPr>
          </a:lstStyle>
          <a:p>
            <a:r>
              <a:rPr lang="en-US" noProof="0" dirty="0" smtClean="0"/>
              <a:t>Click icon to add picture</a:t>
            </a:r>
            <a:endParaRPr lang="en-GB" noProof="0" dirty="0"/>
          </a:p>
        </p:txBody>
      </p:sp>
      <p:sp>
        <p:nvSpPr>
          <p:cNvPr id="11" name="Content Placeholder 10"/>
          <p:cNvSpPr>
            <a:spLocks noGrp="1"/>
          </p:cNvSpPr>
          <p:nvPr>
            <p:ph sz="quarter" idx="14"/>
          </p:nvPr>
        </p:nvSpPr>
        <p:spPr>
          <a:xfrm>
            <a:off x="6504000" y="1724399"/>
            <a:ext cx="5073600" cy="42968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18307367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content and picture">
    <p:spTree>
      <p:nvGrpSpPr>
        <p:cNvPr id="1" name=""/>
        <p:cNvGrpSpPr/>
        <p:nvPr/>
      </p:nvGrpSpPr>
      <p:grpSpPr>
        <a:xfrm>
          <a:off x="0" y="0"/>
          <a:ext cx="0" cy="0"/>
          <a:chOff x="0" y="0"/>
          <a:chExt cx="0" cy="0"/>
        </a:xfrm>
      </p:grpSpPr>
      <p:sp>
        <p:nvSpPr>
          <p:cNvPr id="7" name="Rectangle 6"/>
          <p:cNvSpPr/>
          <p:nvPr/>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6" name="Rectangle 3"/>
          <p:cNvSpPr>
            <a:spLocks noGrp="1" noChangeArrowheads="1"/>
          </p:cNvSpPr>
          <p:nvPr>
            <p:ph type="body" idx="1"/>
          </p:nvPr>
        </p:nvSpPr>
        <p:spPr>
          <a:xfrm>
            <a:off x="609600" y="1578065"/>
            <a:ext cx="5310717" cy="4776296"/>
          </a:xfrm>
        </p:spPr>
        <p:txBody>
          <a:bodyPr/>
          <a:lstStyle>
            <a:lvl1pPr>
              <a:defRPr>
                <a:solidFill>
                  <a:schemeClr val="tx1"/>
                </a:solidFill>
              </a:defRPr>
            </a:lvl1pPr>
          </a:lstStyle>
          <a:p>
            <a:pPr lvl="0" eaLnBrk="1" hangingPunct="1"/>
            <a:r>
              <a:rPr lang="en-US" smtClean="0"/>
              <a:t>Click to edit Master text styles</a:t>
            </a:r>
          </a:p>
        </p:txBody>
      </p:sp>
      <p:sp>
        <p:nvSpPr>
          <p:cNvPr id="8" name="Rectangle 2"/>
          <p:cNvSpPr>
            <a:spLocks noGrp="1" noChangeArrowheads="1"/>
          </p:cNvSpPr>
          <p:nvPr>
            <p:ph type="title"/>
          </p:nvPr>
        </p:nvSpPr>
        <p:spPr>
          <a:xfrm>
            <a:off x="609600" y="502203"/>
            <a:ext cx="5310717" cy="919161"/>
          </a:xfrm>
        </p:spPr>
        <p:txBody>
          <a:bodyPr/>
          <a:lstStyle>
            <a:lvl1pPr>
              <a:defRPr sz="2200">
                <a:solidFill>
                  <a:schemeClr val="tx1"/>
                </a:solidFill>
              </a:defRPr>
            </a:lvl1pPr>
          </a:lstStyle>
          <a:p>
            <a:pPr eaLnBrk="1" hangingPunct="1"/>
            <a:r>
              <a:rPr lang="en-US" smtClean="0"/>
              <a:t>Click to edit Master title style</a:t>
            </a:r>
            <a:endParaRPr lang="da-DK" dirty="0" smtClean="0"/>
          </a:p>
        </p:txBody>
      </p:sp>
      <p:sp>
        <p:nvSpPr>
          <p:cNvPr id="9" name="Picture Placeholder 12"/>
          <p:cNvSpPr>
            <a:spLocks noGrp="1"/>
          </p:cNvSpPr>
          <p:nvPr>
            <p:ph type="pic" sz="quarter" idx="10"/>
          </p:nvPr>
        </p:nvSpPr>
        <p:spPr>
          <a:xfrm>
            <a:off x="6096000" y="496081"/>
            <a:ext cx="5952744" cy="5856011"/>
          </a:xfrm>
        </p:spPr>
        <p:txBody>
          <a:bodyPr/>
          <a:lstStyle>
            <a:lvl1pPr marL="0" indent="0">
              <a:buNone/>
              <a:defRPr>
                <a:latin typeface="+mn-lt"/>
              </a:defRPr>
            </a:lvl1pPr>
          </a:lstStyle>
          <a:p>
            <a:r>
              <a:rPr lang="en-US" dirty="0" smtClean="0"/>
              <a:t>Click icon to add picture</a:t>
            </a:r>
            <a:endParaRPr lang="en-GB" dirty="0"/>
          </a:p>
        </p:txBody>
      </p:sp>
      <p:sp>
        <p:nvSpPr>
          <p:cNvPr id="10" name="Rectangle 9"/>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Tree>
    <p:extLst>
      <p:ext uri="{BB962C8B-B14F-4D97-AF65-F5344CB8AC3E}">
        <p14:creationId xmlns:p14="http://schemas.microsoft.com/office/powerpoint/2010/main" val="158042243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6" name="Rectangle 5"/>
          <p:cNvSpPr/>
          <p:nvPr/>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5" name="Rectangle 4"/>
          <p:cNvSpPr/>
          <p:nvPr/>
        </p:nvSpPr>
        <p:spPr>
          <a:xfrm>
            <a:off x="9674034" y="228599"/>
            <a:ext cx="2311400" cy="246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
        <p:nvSpPr>
          <p:cNvPr id="7" name="Picture Placeholder 2"/>
          <p:cNvSpPr>
            <a:spLocks noGrp="1"/>
          </p:cNvSpPr>
          <p:nvPr>
            <p:ph type="pic" sz="quarter" idx="10"/>
          </p:nvPr>
        </p:nvSpPr>
        <p:spPr>
          <a:xfrm>
            <a:off x="133157" y="139701"/>
            <a:ext cx="11925686" cy="6574536"/>
          </a:xfrm>
          <a:ln>
            <a:noFill/>
          </a:ln>
        </p:spPr>
        <p:txBody>
          <a:bodyPr lIns="91440" tIns="91440" rIns="91440" bIns="91440"/>
          <a:lstStyle>
            <a:lvl1pPr marL="0" indent="0">
              <a:buNone/>
              <a:defRPr/>
            </a:lvl1pPr>
          </a:lstStyle>
          <a:p>
            <a:r>
              <a:rPr lang="en-US" dirty="0" smtClean="0"/>
              <a:t>Click icon to add picture</a:t>
            </a:r>
            <a:endParaRPr lang="da-DK" dirty="0"/>
          </a:p>
        </p:txBody>
      </p:sp>
      <p:sp>
        <p:nvSpPr>
          <p:cNvPr id="8" name="Rectangle 7"/>
          <p:cNvSpPr/>
          <p:nvPr userDrawn="1"/>
        </p:nvSpPr>
        <p:spPr bwMode="white">
          <a:xfrm>
            <a:off x="9144000" y="6096000"/>
            <a:ext cx="30480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sp>
        <p:nvSpPr>
          <p:cNvPr id="9" name="Rectangle 8"/>
          <p:cNvSpPr/>
          <p:nvPr userDrawn="1"/>
        </p:nvSpPr>
        <p:spPr>
          <a:xfrm>
            <a:off x="9674034" y="228599"/>
            <a:ext cx="2311400" cy="246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
              </a:spcBef>
              <a:spcAft>
                <a:spcPts val="600"/>
              </a:spcAft>
            </a:pPr>
            <a:endParaRPr lang="en-GB" dirty="0">
              <a:solidFill>
                <a:srgbClr val="FFFFFF"/>
              </a:solidFill>
            </a:endParaRPr>
          </a:p>
        </p:txBody>
      </p:sp>
    </p:spTree>
    <p:extLst>
      <p:ext uri="{BB962C8B-B14F-4D97-AF65-F5344CB8AC3E}">
        <p14:creationId xmlns:p14="http://schemas.microsoft.com/office/powerpoint/2010/main" val="385186848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5393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11" descr="Line 1_compr"/>
          <p:cNvSpPr>
            <a:spLocks/>
          </p:cNvSpPr>
          <p:nvPr/>
        </p:nvSpPr>
        <p:spPr bwMode="auto">
          <a:xfrm>
            <a:off x="190501" y="1114425"/>
            <a:ext cx="11804651" cy="5181600"/>
          </a:xfrm>
          <a:custGeom>
            <a:avLst/>
            <a:gdLst/>
            <a:ahLst/>
            <a:cxnLst>
              <a:cxn ang="0">
                <a:pos x="13467" y="9795"/>
              </a:cxn>
              <a:cxn ang="0">
                <a:pos x="13467" y="9249"/>
              </a:cxn>
              <a:cxn ang="0">
                <a:pos x="16731" y="9249"/>
              </a:cxn>
              <a:cxn ang="0">
                <a:pos x="16731" y="0"/>
              </a:cxn>
              <a:cxn ang="0">
                <a:pos x="0" y="0"/>
              </a:cxn>
              <a:cxn ang="0">
                <a:pos x="0" y="9800"/>
              </a:cxn>
              <a:cxn ang="0">
                <a:pos x="13467" y="9795"/>
              </a:cxn>
            </a:cxnLst>
            <a:rect l="0" t="0" r="r" b="b"/>
            <a:pathLst>
              <a:path w="16731" h="9800">
                <a:moveTo>
                  <a:pt x="13467" y="9795"/>
                </a:moveTo>
                <a:lnTo>
                  <a:pt x="13467" y="9249"/>
                </a:lnTo>
                <a:lnTo>
                  <a:pt x="16731" y="9249"/>
                </a:lnTo>
                <a:lnTo>
                  <a:pt x="16731" y="0"/>
                </a:lnTo>
                <a:lnTo>
                  <a:pt x="0" y="0"/>
                </a:lnTo>
                <a:lnTo>
                  <a:pt x="0" y="9800"/>
                </a:lnTo>
                <a:lnTo>
                  <a:pt x="13467" y="9795"/>
                </a:lnTo>
                <a:close/>
              </a:path>
            </a:pathLst>
          </a:custGeom>
          <a:blipFill dpi="0" rotWithShape="1">
            <a:blip r:embed="rId2" cstate="print"/>
            <a:srcRect/>
            <a:stretch>
              <a:fillRect/>
            </a:stretch>
          </a:blipFill>
          <a:ln w="9525">
            <a:noFill/>
            <a:round/>
            <a:headEnd/>
            <a:tailEnd/>
          </a:ln>
        </p:spPr>
        <p:txBody>
          <a:bodyPr lIns="91432" tIns="45717" rIns="91432" bIns="45717"/>
          <a:lstStyle/>
          <a:p>
            <a:pPr defTabSz="914323" fontAlgn="base">
              <a:lnSpc>
                <a:spcPct val="107000"/>
              </a:lnSpc>
              <a:spcBef>
                <a:spcPct val="0"/>
              </a:spcBef>
              <a:spcAft>
                <a:spcPct val="0"/>
              </a:spcAft>
              <a:defRPr/>
            </a:pPr>
            <a:endParaRPr lang="en-GB" sz="1400" dirty="0">
              <a:solidFill>
                <a:prstClr val="black"/>
              </a:solidFill>
            </a:endParaRPr>
          </a:p>
        </p:txBody>
      </p:sp>
      <p:sp>
        <p:nvSpPr>
          <p:cNvPr id="5" name="Rectangle 4"/>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pic>
        <p:nvPicPr>
          <p:cNvPr id="6" name="Picture 10" descr="Maersk_Line_Hvid baggrund"/>
          <p:cNvPicPr>
            <a:picLocks noChangeAspect="1" noChangeArrowheads="1"/>
          </p:cNvPicPr>
          <p:nvPr/>
        </p:nvPicPr>
        <p:blipFill>
          <a:blip r:embed="rId3" cstate="print"/>
          <a:srcRect/>
          <a:stretch>
            <a:fillRect/>
          </a:stretch>
        </p:blipFill>
        <p:spPr bwMode="auto">
          <a:xfrm>
            <a:off x="9698569" y="6013451"/>
            <a:ext cx="2493433" cy="844550"/>
          </a:xfrm>
          <a:prstGeom prst="rect">
            <a:avLst/>
          </a:prstGeom>
          <a:noFill/>
          <a:ln w="9525">
            <a:noFill/>
            <a:miter lim="800000"/>
            <a:headEnd/>
            <a:tailEnd/>
          </a:ln>
        </p:spPr>
      </p:pic>
      <p:sp>
        <p:nvSpPr>
          <p:cNvPr id="30723" name="Rectangle 3"/>
          <p:cNvSpPr>
            <a:spLocks noGrp="1" noChangeArrowheads="1"/>
          </p:cNvSpPr>
          <p:nvPr>
            <p:ph type="ctrTitle"/>
          </p:nvPr>
        </p:nvSpPr>
        <p:spPr>
          <a:xfrm>
            <a:off x="192621" y="1114429"/>
            <a:ext cx="11804649" cy="2079625"/>
          </a:xfrm>
          <a:solidFill>
            <a:schemeClr val="bg2">
              <a:alpha val="75000"/>
            </a:schemeClr>
          </a:solidFill>
        </p:spPr>
        <p:txBody>
          <a:bodyPr lIns="431963" tIns="143988" rIns="431963" bIns="143988"/>
          <a:lstStyle>
            <a:lvl1pPr>
              <a:lnSpc>
                <a:spcPct val="92000"/>
              </a:lnSpc>
              <a:defRPr sz="3200">
                <a:solidFill>
                  <a:schemeClr val="bg1"/>
                </a:solidFill>
              </a:defRPr>
            </a:lvl1pPr>
          </a:lstStyle>
          <a:p>
            <a:r>
              <a:rPr lang="en-GB"/>
              <a:t>Text</a:t>
            </a:r>
          </a:p>
        </p:txBody>
      </p:sp>
      <p:sp>
        <p:nvSpPr>
          <p:cNvPr id="30725" name="Rectangle 5"/>
          <p:cNvSpPr>
            <a:spLocks noGrp="1" noChangeArrowheads="1"/>
          </p:cNvSpPr>
          <p:nvPr>
            <p:ph type="subTitle" idx="1"/>
          </p:nvPr>
        </p:nvSpPr>
        <p:spPr>
          <a:xfrm>
            <a:off x="190501" y="287342"/>
            <a:ext cx="11804651" cy="827087"/>
          </a:xfrm>
          <a:solidFill>
            <a:schemeClr val="bg1"/>
          </a:solidFill>
        </p:spPr>
        <p:txBody>
          <a:bodyPr lIns="431963" tIns="143988" rIns="431963" bIns="143988"/>
          <a:lstStyle>
            <a:lvl1pPr marL="0" indent="0">
              <a:spcBef>
                <a:spcPct val="0"/>
              </a:spcBef>
              <a:buFontTx/>
              <a:buNone/>
              <a:defRPr sz="1000"/>
            </a:lvl1pPr>
          </a:lstStyle>
          <a:p>
            <a:r>
              <a:rPr lang="en-GB"/>
              <a:t>Text</a:t>
            </a:r>
          </a:p>
        </p:txBody>
      </p:sp>
    </p:spTree>
    <p:extLst>
      <p:ext uri="{BB962C8B-B14F-4D97-AF65-F5344CB8AC3E}">
        <p14:creationId xmlns:p14="http://schemas.microsoft.com/office/powerpoint/2010/main" val="2058357419"/>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8"/>
          <p:cNvSpPr>
            <a:spLocks noGrp="1" noChangeArrowheads="1"/>
          </p:cNvSpPr>
          <p:nvPr>
            <p:ph type="sldNum" sz="quarter" idx="11"/>
          </p:nvPr>
        </p:nvSpPr>
        <p:spPr>
          <a:xfrm>
            <a:off x="795868" y="6548442"/>
            <a:ext cx="728133" cy="179387"/>
          </a:xfrm>
          <a:ln/>
        </p:spPr>
        <p:txBody>
          <a:bodyPr/>
          <a:lstStyle>
            <a:lvl1pPr>
              <a:defRPr/>
            </a:lvl1pPr>
          </a:lstStyle>
          <a:p>
            <a:pPr>
              <a:defRPr/>
            </a:pPr>
            <a:fld id="{04F90D04-9D52-4E5A-AD11-0152D3003DA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609017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7"/>
            <a:ext cx="10363200" cy="1500187"/>
          </a:xfrm>
        </p:spPr>
        <p:txBody>
          <a:bodyPr anchor="b"/>
          <a:lstStyle>
            <a:lvl1pPr marL="0" indent="0">
              <a:buNone/>
              <a:defRPr sz="2000"/>
            </a:lvl1pPr>
            <a:lvl2pPr marL="457162" indent="0">
              <a:buNone/>
              <a:defRPr sz="1800"/>
            </a:lvl2pPr>
            <a:lvl3pPr marL="914323" indent="0">
              <a:buNone/>
              <a:defRPr sz="1600"/>
            </a:lvl3pPr>
            <a:lvl4pPr marL="1371485" indent="0">
              <a:buNone/>
              <a:defRPr sz="1400"/>
            </a:lvl4pPr>
            <a:lvl5pPr marL="1828646" indent="0">
              <a:buNone/>
              <a:defRPr sz="1400"/>
            </a:lvl5pPr>
            <a:lvl6pPr marL="2285807" indent="0">
              <a:buNone/>
              <a:defRPr sz="1400"/>
            </a:lvl6pPr>
            <a:lvl7pPr marL="2742969" indent="0">
              <a:buNone/>
              <a:defRPr sz="1400"/>
            </a:lvl7pPr>
            <a:lvl8pPr marL="3200131" indent="0">
              <a:buNone/>
              <a:defRPr sz="1400"/>
            </a:lvl8pPr>
            <a:lvl9pPr marL="3657292" indent="0">
              <a:buNone/>
              <a:defRPr sz="1400"/>
            </a:lvl9pPr>
          </a:lstStyle>
          <a:p>
            <a:pPr lvl="0"/>
            <a:r>
              <a:rPr lang="en-US" smtClean="0"/>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1016000" y="6548442"/>
            <a:ext cx="1439333" cy="179387"/>
          </a:xfrm>
          <a:ln/>
        </p:spPr>
        <p:txBody>
          <a:bodyPr/>
          <a:lstStyle>
            <a:lvl1pPr>
              <a:defRPr/>
            </a:lvl1pPr>
          </a:lstStyle>
          <a:p>
            <a:pPr>
              <a:defRPr/>
            </a:pPr>
            <a:fld id="{6EBB85A0-89DB-4511-9056-62F16E9C49DA}"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30521261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766235" y="2085975"/>
            <a:ext cx="5223933"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93368" y="2085975"/>
            <a:ext cx="5226051" cy="3778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8DF5B4DA-382C-45B6-90A4-FE737DDAF4DF}"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9819869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3" y="1535114"/>
            <a:ext cx="5386917"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70" y="1535114"/>
            <a:ext cx="5389033" cy="639762"/>
          </a:xfrm>
        </p:spPr>
        <p:txBody>
          <a:bodyPr anchor="b"/>
          <a:lstStyle>
            <a:lvl1pPr marL="0" indent="0">
              <a:buNone/>
              <a:defRPr sz="2400" b="1"/>
            </a:lvl1pPr>
            <a:lvl2pPr marL="457162" indent="0">
              <a:buNone/>
              <a:defRPr sz="2000" b="1"/>
            </a:lvl2pPr>
            <a:lvl3pPr marL="914323" indent="0">
              <a:buNone/>
              <a:defRPr sz="1800" b="1"/>
            </a:lvl3pPr>
            <a:lvl4pPr marL="1371485" indent="0">
              <a:buNone/>
              <a:defRPr sz="1600" b="1"/>
            </a:lvl4pPr>
            <a:lvl5pPr marL="1828646" indent="0">
              <a:buNone/>
              <a:defRPr sz="1600" b="1"/>
            </a:lvl5pPr>
            <a:lvl6pPr marL="2285807" indent="0">
              <a:buNone/>
              <a:defRPr sz="1600" b="1"/>
            </a:lvl6pPr>
            <a:lvl7pPr marL="2742969" indent="0">
              <a:buNone/>
              <a:defRPr sz="1600" b="1"/>
            </a:lvl7pPr>
            <a:lvl8pPr marL="3200131" indent="0">
              <a:buNone/>
              <a:defRPr sz="1600" b="1"/>
            </a:lvl8pPr>
            <a:lvl9pPr marL="365729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8"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04222A2A-2BB7-402B-BFB2-0C6290F7AD5D}" type="slidenum">
              <a:rPr lang="en-GB">
                <a:solidFill>
                  <a:prstClr val="black"/>
                </a:solidFill>
              </a:rPr>
              <a:pPr>
                <a:defRPr/>
              </a:pPr>
              <a:t>‹#›</a:t>
            </a:fld>
            <a:endParaRPr lang="en-GB" dirty="0">
              <a:solidFill>
                <a:prstClr val="black"/>
              </a:solidFill>
            </a:endParaRPr>
          </a:p>
        </p:txBody>
      </p:sp>
      <p:sp>
        <p:nvSpPr>
          <p:cNvPr id="9"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37643667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Rectangle 6"/>
          <p:cNvSpPr/>
          <p:nvPr userDrawn="1"/>
        </p:nvSpPr>
        <p:spPr>
          <a:xfrm>
            <a:off x="122767" y="115202"/>
            <a:ext cx="11944351" cy="62411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t" anchorCtr="0"/>
          <a:lstStyle/>
          <a:p>
            <a:pPr algn="ctr"/>
            <a:endParaRPr lang="en-US"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Date Placeholder 2"/>
          <p:cNvSpPr>
            <a:spLocks noGrp="1"/>
          </p:cNvSpPr>
          <p:nvPr>
            <p:ph type="dt" sz="half" idx="10"/>
          </p:nvPr>
        </p:nvSpPr>
        <p:spPr>
          <a:xfrm>
            <a:off x="609600" y="6368400"/>
            <a:ext cx="1166400" cy="365125"/>
          </a:xfrm>
          <a:prstGeom prst="rect">
            <a:avLst/>
          </a:prstGeom>
        </p:spPr>
        <p:txBody>
          <a:bodyPr lIns="121917" tIns="60958" rIns="121917" bIns="60958"/>
          <a:lstStyle/>
          <a:p>
            <a:fld id="{14C6F7AA-F96C-4D56-A9A4-44EFD96F698C}" type="datetime4">
              <a:rPr lang="en-US">
                <a:solidFill>
                  <a:srgbClr val="000000"/>
                </a:solidFill>
              </a:rPr>
              <a:pPr/>
              <a:t>December 9, 2016</a:t>
            </a:fld>
            <a:endParaRPr lang="en-US" dirty="0">
              <a:solidFill>
                <a:srgbClr val="000000"/>
              </a:solidFill>
            </a:endParaRPr>
          </a:p>
        </p:txBody>
      </p:sp>
      <p:sp>
        <p:nvSpPr>
          <p:cNvPr id="4" name="Footer Placeholder 3"/>
          <p:cNvSpPr>
            <a:spLocks noGrp="1"/>
          </p:cNvSpPr>
          <p:nvPr>
            <p:ph type="ftr" sz="quarter" idx="11"/>
          </p:nvPr>
        </p:nvSpPr>
        <p:spPr>
          <a:xfrm>
            <a:off x="6187200" y="115200"/>
            <a:ext cx="5011200" cy="298800"/>
          </a:xfrm>
          <a:prstGeom prst="rect">
            <a:avLst/>
          </a:prstGeom>
        </p:spPr>
        <p:txBody>
          <a:bodyPr lIns="121917" tIns="60958" rIns="121917" bIns="60958"/>
          <a:lstStyle>
            <a:lvl1pPr>
              <a:defRPr>
                <a:solidFill>
                  <a:schemeClr val="bg1"/>
                </a:solidFill>
              </a:defRPr>
            </a:lvl1pPr>
          </a:lstStyle>
          <a:p>
            <a:r>
              <a:rPr lang="en-US" dirty="0" smtClean="0">
                <a:solidFill>
                  <a:srgbClr val="FFFFFF"/>
                </a:solidFill>
              </a:rPr>
              <a:t>Department</a:t>
            </a:r>
            <a:endParaRPr lang="en-US" dirty="0">
              <a:solidFill>
                <a:srgbClr val="FFFFFF"/>
              </a:solidFill>
            </a:endParaRPr>
          </a:p>
        </p:txBody>
      </p:sp>
      <p:sp>
        <p:nvSpPr>
          <p:cNvPr id="5" name="Slide Number Placeholder 4"/>
          <p:cNvSpPr>
            <a:spLocks noGrp="1"/>
          </p:cNvSpPr>
          <p:nvPr>
            <p:ph type="sldNum" sz="quarter" idx="12"/>
          </p:nvPr>
        </p:nvSpPr>
        <p:spPr>
          <a:xfrm>
            <a:off x="11241600" y="115200"/>
            <a:ext cx="916800" cy="298800"/>
          </a:xfrm>
          <a:prstGeom prst="rect">
            <a:avLst/>
          </a:prstGeom>
        </p:spPr>
        <p:txBody>
          <a:bodyPr lIns="121917" tIns="60958" rIns="121917" bIns="60958"/>
          <a:lstStyle>
            <a:lvl1pPr>
              <a:defRPr>
                <a:solidFill>
                  <a:schemeClr val="bg1"/>
                </a:solidFill>
              </a:defRPr>
            </a:lvl1pPr>
          </a:lstStyle>
          <a:p>
            <a:r>
              <a:rPr lang="en-US" dirty="0" smtClean="0">
                <a:solidFill>
                  <a:srgbClr val="FFFFFF"/>
                </a:solidFill>
              </a:rPr>
              <a:t>page </a:t>
            </a:r>
            <a:fld id="{161BE2EA-AEDB-4948-88E1-594E5C4BF481}" type="slidenum">
              <a:rPr lang="en-US" smtClean="0">
                <a:solidFill>
                  <a:srgbClr val="FFFFFF"/>
                </a:solidFill>
              </a:rPr>
              <a:pPr/>
              <a:t>‹#›</a:t>
            </a:fld>
            <a:endParaRPr lang="en-US" dirty="0">
              <a:solidFill>
                <a:srgbClr val="FFFFFF"/>
              </a:solidFill>
            </a:endParaRPr>
          </a:p>
        </p:txBody>
      </p:sp>
      <p:pic>
        <p:nvPicPr>
          <p:cNvPr id="9" name="Picture 8" descr="logo_maersk.w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7589" y="6100234"/>
            <a:ext cx="1614412" cy="757765"/>
          </a:xfrm>
          <a:prstGeom prst="rect">
            <a:avLst/>
          </a:prstGeom>
        </p:spPr>
      </p:pic>
    </p:spTree>
    <p:extLst>
      <p:ext uri="{BB962C8B-B14F-4D97-AF65-F5344CB8AC3E}">
        <p14:creationId xmlns:p14="http://schemas.microsoft.com/office/powerpoint/2010/main" val="42836004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4"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4B2DB91A-6E11-4993-A18E-DD7302448E9D}" type="slidenum">
              <a:rPr lang="en-GB">
                <a:solidFill>
                  <a:prstClr val="black"/>
                </a:solidFill>
              </a:rPr>
              <a:pPr>
                <a:defRPr/>
              </a:pPr>
              <a:t>‹#›</a:t>
            </a:fld>
            <a:endParaRPr lang="en-GB" dirty="0">
              <a:solidFill>
                <a:prstClr val="black"/>
              </a:solidFill>
            </a:endParaRPr>
          </a:p>
        </p:txBody>
      </p:sp>
      <p:sp>
        <p:nvSpPr>
          <p:cNvPr id="5"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6837367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3"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F3107162-A752-4975-BA70-13144D023A41}" type="slidenum">
              <a:rPr lang="en-GB">
                <a:solidFill>
                  <a:prstClr val="black"/>
                </a:solidFill>
              </a:rPr>
              <a:pPr>
                <a:defRPr/>
              </a:pPr>
              <a:t>‹#›</a:t>
            </a:fld>
            <a:endParaRPr lang="en-GB" dirty="0">
              <a:solidFill>
                <a:prstClr val="black"/>
              </a:solidFill>
            </a:endParaRPr>
          </a:p>
        </p:txBody>
      </p:sp>
      <p:sp>
        <p:nvSpPr>
          <p:cNvPr id="4"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34523329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xfrm>
            <a:off x="609600" y="6548442"/>
            <a:ext cx="1439333" cy="179387"/>
          </a:xfrm>
          <a:ln/>
        </p:spPr>
        <p:txBody>
          <a:bodyPr/>
          <a:lstStyle>
            <a:lvl1pPr>
              <a:defRPr/>
            </a:lvl1pPr>
          </a:lstStyle>
          <a:p>
            <a:pPr>
              <a:defRPr/>
            </a:pPr>
            <a:fld id="{6EEF1CB4-CB75-48A9-A5D7-0BCD2FBD8065}"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13517695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62" indent="0">
              <a:buNone/>
              <a:defRPr sz="2800"/>
            </a:lvl2pPr>
            <a:lvl3pPr marL="914323" indent="0">
              <a:buNone/>
              <a:defRPr sz="2400"/>
            </a:lvl3pPr>
            <a:lvl4pPr marL="1371485" indent="0">
              <a:buNone/>
              <a:defRPr sz="2000"/>
            </a:lvl4pPr>
            <a:lvl5pPr marL="1828646" indent="0">
              <a:buNone/>
              <a:defRPr sz="2000"/>
            </a:lvl5pPr>
            <a:lvl6pPr marL="2285807" indent="0">
              <a:buNone/>
              <a:defRPr sz="2000"/>
            </a:lvl6pPr>
            <a:lvl7pPr marL="2742969" indent="0">
              <a:buNone/>
              <a:defRPr sz="2000"/>
            </a:lvl7pPr>
            <a:lvl8pPr marL="3200131" indent="0">
              <a:buNone/>
              <a:defRPr sz="2000"/>
            </a:lvl8pPr>
            <a:lvl9pPr marL="3657292" indent="0">
              <a:buNone/>
              <a:defRPr sz="2000"/>
            </a:lvl9pPr>
          </a:lstStyle>
          <a:p>
            <a:pPr lvl="0"/>
            <a:endParaRPr lang="en-GB"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62" indent="0">
              <a:buNone/>
              <a:defRPr sz="1200"/>
            </a:lvl2pPr>
            <a:lvl3pPr marL="914323" indent="0">
              <a:buNone/>
              <a:defRPr sz="1000"/>
            </a:lvl3pPr>
            <a:lvl4pPr marL="1371485" indent="0">
              <a:buNone/>
              <a:defRPr sz="900"/>
            </a:lvl4pPr>
            <a:lvl5pPr marL="1828646" indent="0">
              <a:buNone/>
              <a:defRPr sz="900"/>
            </a:lvl5pPr>
            <a:lvl6pPr marL="2285807" indent="0">
              <a:buNone/>
              <a:defRPr sz="900"/>
            </a:lvl6pPr>
            <a:lvl7pPr marL="2742969" indent="0">
              <a:buNone/>
              <a:defRPr sz="900"/>
            </a:lvl7pPr>
            <a:lvl8pPr marL="3200131" indent="0">
              <a:buNone/>
              <a:defRPr sz="900"/>
            </a:lvl8pPr>
            <a:lvl9pPr marL="3657292"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5214A8E4-9391-410C-8C2E-7D2391239A4C}" type="slidenum">
              <a:rPr lang="en-GB">
                <a:solidFill>
                  <a:prstClr val="black"/>
                </a:solidFill>
              </a:rPr>
              <a:pPr>
                <a:defRPr/>
              </a:pPr>
              <a:t>‹#›</a:t>
            </a:fld>
            <a:endParaRPr lang="en-GB" dirty="0">
              <a:solidFill>
                <a:prstClr val="black"/>
              </a:solidFill>
            </a:endParaRPr>
          </a:p>
        </p:txBody>
      </p:sp>
      <p:sp>
        <p:nvSpPr>
          <p:cNvPr id="7"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42633034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xfrm>
            <a:off x="795868" y="6548442"/>
            <a:ext cx="1439333" cy="179387"/>
          </a:xfrm>
          <a:ln/>
        </p:spPr>
        <p:txBody>
          <a:bodyPr/>
          <a:lstStyle>
            <a:lvl1pPr>
              <a:defRPr/>
            </a:lvl1pPr>
          </a:lstStyle>
          <a:p>
            <a:pPr>
              <a:defRPr/>
            </a:pPr>
            <a:fld id="{B1CA94DF-50B3-4B99-A764-FFB74B340EF4}" type="slidenum">
              <a:rPr lang="en-GB" smtClean="0">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42530888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6653" y="287342"/>
            <a:ext cx="2662767" cy="55768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766237" y="287342"/>
            <a:ext cx="7787217" cy="55768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dt" sz="half" idx="10"/>
          </p:nvPr>
        </p:nvSpPr>
        <p:spPr>
          <a:ln/>
        </p:spPr>
        <p:txBody>
          <a:bodyPr/>
          <a:lstStyle>
            <a:lvl1pPr>
              <a:defRPr/>
            </a:lvl1pPr>
          </a:lstStyle>
          <a:p>
            <a:pPr>
              <a:defRPr/>
            </a:pPr>
            <a:r>
              <a:rPr lang="en-US" dirty="0" smtClean="0">
                <a:solidFill>
                  <a:prstClr val="black"/>
                </a:solidFill>
              </a:rPr>
              <a:t>10/25/2011</a:t>
            </a:r>
            <a:endParaRPr lang="en-GB" dirty="0">
              <a:solidFill>
                <a:prstClr val="black"/>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r>
              <a:rPr lang="en-GB" dirty="0">
                <a:solidFill>
                  <a:prstClr val="black"/>
                </a:solidFill>
              </a:rPr>
              <a:t>Slide no. </a:t>
            </a:r>
            <a:fld id="{383C5D11-C660-4228-9487-EA86CDCD4C3A}" type="slidenum">
              <a:rPr lang="en-GB">
                <a:solidFill>
                  <a:prstClr val="black"/>
                </a:solidFill>
              </a:rPr>
              <a:pPr>
                <a:defRPr/>
              </a:pPr>
              <a:t>‹#›</a:t>
            </a:fld>
            <a:endParaRPr lang="en-GB" dirty="0">
              <a:solidFill>
                <a:prstClr val="black"/>
              </a:solidFill>
            </a:endParaRPr>
          </a:p>
        </p:txBody>
      </p:sp>
      <p:sp>
        <p:nvSpPr>
          <p:cNvPr id="6" name="Rectangle 10"/>
          <p:cNvSpPr>
            <a:spLocks noGrp="1" noChangeArrowheads="1"/>
          </p:cNvSpPr>
          <p:nvPr>
            <p:ph type="ftr" sz="quarter" idx="12"/>
          </p:nvPr>
        </p:nvSpPr>
        <p:spPr>
          <a:xfrm>
            <a:off x="766236" y="6548442"/>
            <a:ext cx="2161117" cy="179387"/>
          </a:xfrm>
          <a:prstGeom prst="rect">
            <a:avLst/>
          </a:prstGeom>
          <a:ln/>
        </p:spPr>
        <p:txBody>
          <a:bodyPr lIns="91432" tIns="45717" rIns="91432" bIns="45717"/>
          <a:lstStyle>
            <a:lvl1pPr>
              <a:defRPr/>
            </a:lvl1pPr>
          </a:lstStyle>
          <a:p>
            <a:pPr defTabSz="914323" fontAlgn="base">
              <a:lnSpc>
                <a:spcPct val="107000"/>
              </a:lnSpc>
              <a:spcBef>
                <a:spcPct val="0"/>
              </a:spcBef>
              <a:spcAft>
                <a:spcPct val="0"/>
              </a:spcAft>
              <a:defRPr/>
            </a:pPr>
            <a:endParaRPr lang="en-GB" sz="1400" dirty="0">
              <a:solidFill>
                <a:prstClr val="black"/>
              </a:solidFill>
            </a:endParaRPr>
          </a:p>
        </p:txBody>
      </p:sp>
    </p:spTree>
    <p:extLst>
      <p:ext uri="{BB962C8B-B14F-4D97-AF65-F5344CB8AC3E}">
        <p14:creationId xmlns:p14="http://schemas.microsoft.com/office/powerpoint/2010/main" val="42805282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Rectangle 4"/>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a:defRPr/>
            </a:pPr>
            <a:endParaRPr lang="en-GB" sz="1800" dirty="0">
              <a:solidFill>
                <a:srgbClr val="000000"/>
              </a:solidFill>
            </a:endParaRPr>
          </a:p>
        </p:txBody>
      </p:sp>
      <p:pic>
        <p:nvPicPr>
          <p:cNvPr id="3" name="Picture 10" descr="Maersk_Line_Hvid baggrund"/>
          <p:cNvPicPr>
            <a:picLocks noChangeAspect="1" noChangeArrowheads="1"/>
          </p:cNvPicPr>
          <p:nvPr/>
        </p:nvPicPr>
        <p:blipFill>
          <a:blip r:embed="rId3" cstate="print"/>
          <a:srcRect t="9023"/>
          <a:stretch>
            <a:fillRect/>
          </a:stretch>
        </p:blipFill>
        <p:spPr bwMode="auto">
          <a:xfrm>
            <a:off x="9698568" y="6089650"/>
            <a:ext cx="2493433" cy="768350"/>
          </a:xfrm>
          <a:prstGeom prst="rect">
            <a:avLst/>
          </a:prstGeom>
          <a:noFill/>
          <a:ln w="9525">
            <a:noFill/>
            <a:miter lim="800000"/>
            <a:headEnd/>
            <a:tailEnd/>
          </a:ln>
        </p:spPr>
      </p:pic>
      <p:sp>
        <p:nvSpPr>
          <p:cNvPr id="4" name="Rectangle 14"/>
          <p:cNvSpPr>
            <a:spLocks noGrp="1" noChangeArrowheads="1"/>
          </p:cNvSpPr>
          <p:nvPr>
            <p:ph type="ftr" sz="quarter" idx="10"/>
          </p:nvPr>
        </p:nvSpPr>
        <p:spPr>
          <a:xfrm>
            <a:off x="4165600" y="6356351"/>
            <a:ext cx="3860800" cy="365125"/>
          </a:xfrm>
          <a:prstGeom prst="rect">
            <a:avLst/>
          </a:prstGeom>
        </p:spPr>
        <p:txBody>
          <a:bodyPr/>
          <a:lstStyle>
            <a:lvl1pPr>
              <a:defRPr/>
            </a:lvl1pPr>
          </a:lstStyle>
          <a:p>
            <a:pPr>
              <a:defRPr/>
            </a:pPr>
            <a:r>
              <a:rPr lang="en-GB" dirty="0">
                <a:solidFill>
                  <a:srgbClr val="000000">
                    <a:tint val="75000"/>
                  </a:srgbClr>
                </a:solidFill>
              </a:rPr>
              <a:t>Maersk Line Sustainability</a:t>
            </a:r>
          </a:p>
        </p:txBody>
      </p:sp>
    </p:spTree>
    <p:extLst>
      <p:ext uri="{BB962C8B-B14F-4D97-AF65-F5344CB8AC3E}">
        <p14:creationId xmlns:p14="http://schemas.microsoft.com/office/powerpoint/2010/main" val="3549767196"/>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6233" y="287338"/>
            <a:ext cx="10653184" cy="15128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66234" y="2085975"/>
            <a:ext cx="5223933"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3367" y="2085975"/>
            <a:ext cx="5226051" cy="3778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dt" sz="half" idx="10"/>
          </p:nvPr>
        </p:nvSpPr>
        <p:spPr>
          <a:ln/>
        </p:spPr>
        <p:txBody>
          <a:bodyPr/>
          <a:lstStyle>
            <a:lvl1pPr>
              <a:defRPr/>
            </a:lvl1pPr>
          </a:lstStyle>
          <a:p>
            <a:pPr>
              <a:defRPr/>
            </a:pPr>
            <a:endParaRPr lang="en-GB" dirty="0">
              <a:solidFill>
                <a:prstClr val="black"/>
              </a:solidFill>
            </a:endParaRPr>
          </a:p>
        </p:txBody>
      </p:sp>
      <p:sp>
        <p:nvSpPr>
          <p:cNvPr id="6" name="Rectangle 10"/>
          <p:cNvSpPr>
            <a:spLocks noGrp="1" noChangeArrowheads="1"/>
          </p:cNvSpPr>
          <p:nvPr>
            <p:ph type="ftr" sz="quarter" idx="11"/>
          </p:nvPr>
        </p:nvSpPr>
        <p:spPr>
          <a:xfrm>
            <a:off x="766236" y="6548441"/>
            <a:ext cx="2161119" cy="179387"/>
          </a:xfrm>
          <a:prstGeom prst="rect">
            <a:avLst/>
          </a:prstGeom>
          <a:ln/>
        </p:spPr>
        <p:txBody>
          <a:bodyPr/>
          <a:lstStyle>
            <a:lvl1pPr>
              <a:defRPr/>
            </a:lvl1pPr>
          </a:lstStyle>
          <a:p>
            <a:pPr>
              <a:defRPr/>
            </a:pPr>
            <a:r>
              <a:rPr lang="en-GB" dirty="0" smtClean="0">
                <a:solidFill>
                  <a:prstClr val="black"/>
                </a:solidFill>
              </a:rPr>
              <a:t>LOC Staff 4/2013</a:t>
            </a:r>
            <a:endParaRPr lang="en-GB" dirty="0">
              <a:solidFill>
                <a:prstClr val="black"/>
              </a:solidFill>
            </a:endParaRPr>
          </a:p>
        </p:txBody>
      </p:sp>
    </p:spTree>
    <p:extLst>
      <p:ext uri="{BB962C8B-B14F-4D97-AF65-F5344CB8AC3E}">
        <p14:creationId xmlns:p14="http://schemas.microsoft.com/office/powerpoint/2010/main" val="1412463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Date Placeholder 2"/>
          <p:cNvSpPr>
            <a:spLocks noGrp="1"/>
          </p:cNvSpPr>
          <p:nvPr>
            <p:ph type="dt" sz="half" idx="10"/>
          </p:nvPr>
        </p:nvSpPr>
        <p:spPr/>
        <p:txBody>
          <a:bodyPr/>
          <a:lstStyle/>
          <a:p>
            <a:fld id="{D24B618C-AAD6-4108-9FB1-671D1F076F26}" type="datetime1">
              <a:rPr lang="en-GB" smtClean="0">
                <a:solidFill>
                  <a:prstClr val="black"/>
                </a:solidFill>
              </a:rPr>
              <a:pPr/>
              <a:t>09/12/2016</a:t>
            </a:fld>
            <a:endParaRPr lang="en-GB" dirty="0">
              <a:solidFill>
                <a:prstClr val="black"/>
              </a:solidFill>
            </a:endParaRPr>
          </a:p>
        </p:txBody>
      </p:sp>
      <p:sp>
        <p:nvSpPr>
          <p:cNvPr id="4" name="Footer Placeholder 3"/>
          <p:cNvSpPr>
            <a:spLocks noGrp="1"/>
          </p:cNvSpPr>
          <p:nvPr>
            <p:ph type="ftr" sz="quarter" idx="11"/>
          </p:nvPr>
        </p:nvSpPr>
        <p:spPr>
          <a:xfrm>
            <a:off x="6187200" y="115200"/>
            <a:ext cx="5011200" cy="298800"/>
          </a:xfrm>
          <a:prstGeom prst="rect">
            <a:avLst/>
          </a:prstGeom>
        </p:spPr>
        <p:txBody>
          <a:bodyPr/>
          <a:lstStyle/>
          <a:p>
            <a:r>
              <a:rPr lang="en-GB" dirty="0" smtClean="0">
                <a:solidFill>
                  <a:prstClr val="black"/>
                </a:solidFill>
              </a:rPr>
              <a:t>Title of presentation |</a:t>
            </a:r>
            <a:endParaRPr lang="en-GB" dirty="0">
              <a:solidFill>
                <a:prstClr val="black"/>
              </a:solidFill>
            </a:endParaRPr>
          </a:p>
        </p:txBody>
      </p:sp>
      <p:sp>
        <p:nvSpPr>
          <p:cNvPr id="5" name="Slide Number Placeholder 4"/>
          <p:cNvSpPr>
            <a:spLocks noGrp="1"/>
          </p:cNvSpPr>
          <p:nvPr>
            <p:ph type="sldNum" sz="quarter" idx="12"/>
          </p:nvPr>
        </p:nvSpPr>
        <p:spPr/>
        <p:txBody>
          <a:bodyPr/>
          <a:lstStyle/>
          <a:p>
            <a:r>
              <a:rPr lang="en-GB" dirty="0" smtClean="0">
                <a:solidFill>
                  <a:prstClr val="black"/>
                </a:solidFill>
              </a:rPr>
              <a:t>page </a:t>
            </a:r>
            <a:fld id="{161BE2EA-AEDB-4948-88E1-594E5C4BF481}" type="slidenum">
              <a:rPr lang="en-GB" smtClean="0">
                <a:solidFill>
                  <a:prstClr val="black"/>
                </a:solidFill>
              </a:rPr>
              <a:pPr/>
              <a:t>‹#›</a:t>
            </a:fld>
            <a:endParaRPr lang="en-GB" dirty="0">
              <a:solidFill>
                <a:prstClr val="black"/>
              </a:solidFill>
            </a:endParaRPr>
          </a:p>
        </p:txBody>
      </p:sp>
      <p:sp>
        <p:nvSpPr>
          <p:cNvPr id="7" name="Content Placeholder 6"/>
          <p:cNvSpPr>
            <a:spLocks noGrp="1"/>
          </p:cNvSpPr>
          <p:nvPr>
            <p:ph sz="quarter" idx="13"/>
          </p:nvPr>
        </p:nvSpPr>
        <p:spPr>
          <a:xfrm>
            <a:off x="613832" y="1516064"/>
            <a:ext cx="9422400" cy="458152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28567663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322" y="274742"/>
            <a:ext cx="10973357" cy="1142499"/>
          </a:xfrm>
          <a:prstGeom prst="rect">
            <a:avLst/>
          </a:prstGeom>
        </p:spPr>
        <p:txBody>
          <a:bodyPr lIns="82954" tIns="41477" rIns="82954" bIns="41477"/>
          <a:lstStyle/>
          <a:p>
            <a:r>
              <a:rPr lang="en-US" smtClean="0"/>
              <a:t>Click to edit Master title style</a:t>
            </a:r>
            <a:endParaRPr lang="en-US"/>
          </a:p>
        </p:txBody>
      </p:sp>
      <p:sp>
        <p:nvSpPr>
          <p:cNvPr id="3" name="Table Placeholder 2"/>
          <p:cNvSpPr>
            <a:spLocks noGrp="1"/>
          </p:cNvSpPr>
          <p:nvPr>
            <p:ph type="tbl" idx="1"/>
          </p:nvPr>
        </p:nvSpPr>
        <p:spPr>
          <a:xfrm>
            <a:off x="609322" y="1600400"/>
            <a:ext cx="10973357" cy="4526461"/>
          </a:xfrm>
          <a:prstGeom prst="rect">
            <a:avLst/>
          </a:prstGeom>
        </p:spPr>
        <p:txBody>
          <a:bodyPr lIns="82954" tIns="41477" rIns="82954" bIns="41477"/>
          <a:lstStyle/>
          <a:p>
            <a:endParaRPr lang="en-US" dirty="0"/>
          </a:p>
        </p:txBody>
      </p:sp>
    </p:spTree>
    <p:extLst>
      <p:ext uri="{BB962C8B-B14F-4D97-AF65-F5344CB8AC3E}">
        <p14:creationId xmlns:p14="http://schemas.microsoft.com/office/powerpoint/2010/main" val="1003090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image" Target="../media/image7.wmf"/><Relationship Id="rId2" Type="http://schemas.openxmlformats.org/officeDocument/2006/relationships/slideLayout" Target="../slideLayouts/slideLayout101.xml"/><Relationship Id="rId16" Type="http://schemas.openxmlformats.org/officeDocument/2006/relationships/theme" Target="../theme/theme1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1.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7.w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6" Type="http://schemas.openxmlformats.org/officeDocument/2006/relationships/image" Target="../media/image7.wmf"/><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theme" Target="../theme/theme12.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image" Target="../media/image7.wmf"/><Relationship Id="rId2" Type="http://schemas.openxmlformats.org/officeDocument/2006/relationships/slideLayout" Target="../slideLayouts/slideLayout142.xml"/><Relationship Id="rId16" Type="http://schemas.openxmlformats.org/officeDocument/2006/relationships/theme" Target="../theme/theme13.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image" Target="../media/image7.wmf"/><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14.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2.xml"/><Relationship Id="rId3" Type="http://schemas.openxmlformats.org/officeDocument/2006/relationships/slideLayout" Target="../slideLayouts/slideLayout14.xml"/><Relationship Id="rId21" Type="http://schemas.openxmlformats.org/officeDocument/2006/relationships/image" Target="../media/image2.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vmlDrawing" Target="../drawings/vmlDrawing2.vml"/><Relationship Id="rId2" Type="http://schemas.openxmlformats.org/officeDocument/2006/relationships/slideLayout" Target="../slideLayouts/slideLayout13.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oleObject" Target="../embeddings/oleObject2.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1.emf"/><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oleObject" Target="../embeddings/oleObject3.bin"/><Relationship Id="rId2" Type="http://schemas.openxmlformats.org/officeDocument/2006/relationships/slideLayout" Target="../slideLayouts/slideLayout28.xml"/><Relationship Id="rId16" Type="http://schemas.openxmlformats.org/officeDocument/2006/relationships/tags" Target="../tags/tag3.xml"/><Relationship Id="rId20" Type="http://schemas.openxmlformats.org/officeDocument/2006/relationships/image" Target="../media/image3.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3.vml"/><Relationship Id="rId10" Type="http://schemas.openxmlformats.org/officeDocument/2006/relationships/slideLayout" Target="../slideLayouts/slideLayout36.xml"/><Relationship Id="rId19" Type="http://schemas.openxmlformats.org/officeDocument/2006/relationships/image" Target="../media/image2.pn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4.vml"/><Relationship Id="rId18" Type="http://schemas.openxmlformats.org/officeDocument/2006/relationships/image" Target="../media/image5.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17" Type="http://schemas.openxmlformats.org/officeDocument/2006/relationships/image" Target="../media/image2.png"/><Relationship Id="rId2" Type="http://schemas.openxmlformats.org/officeDocument/2006/relationships/slideLayout" Target="../slideLayouts/slideLayout41.xml"/><Relationship Id="rId16" Type="http://schemas.openxmlformats.org/officeDocument/2006/relationships/image" Target="../media/image1.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4.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oleObject" Target="../embeddings/oleObject5.bin"/><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ags" Target="../tags/tag5.xml"/><Relationship Id="rId2" Type="http://schemas.openxmlformats.org/officeDocument/2006/relationships/slideLayout" Target="../slideLayouts/slideLayout52.xml"/><Relationship Id="rId16" Type="http://schemas.openxmlformats.org/officeDocument/2006/relationships/image" Target="../media/image5.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vmlDrawing" Target="../drawings/vmlDrawing5.vml"/><Relationship Id="rId5" Type="http://schemas.openxmlformats.org/officeDocument/2006/relationships/slideLayout" Target="../slideLayouts/slideLayout55.xml"/><Relationship Id="rId15" Type="http://schemas.openxmlformats.org/officeDocument/2006/relationships/image" Target="../media/image2.png"/><Relationship Id="rId10" Type="http://schemas.openxmlformats.org/officeDocument/2006/relationships/theme" Target="../theme/theme5.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6.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6.xml"/><Relationship Id="rId5" Type="http://schemas.openxmlformats.org/officeDocument/2006/relationships/slideLayout" Target="../slideLayouts/slideLayout64.xml"/><Relationship Id="rId15" Type="http://schemas.openxmlformats.org/officeDocument/2006/relationships/image" Target="../media/image5.png"/><Relationship Id="rId10" Type="http://schemas.openxmlformats.org/officeDocument/2006/relationships/vmlDrawing" Target="../drawings/vmlDrawing6.vml"/><Relationship Id="rId4" Type="http://schemas.openxmlformats.org/officeDocument/2006/relationships/slideLayout" Target="../slideLayouts/slideLayout63.xml"/><Relationship Id="rId9" Type="http://schemas.openxmlformats.org/officeDocument/2006/relationships/theme" Target="../theme/theme6.xml"/><Relationship Id="rId1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oleObject" Target="../embeddings/oleObject7.bin"/><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ags" Target="../tags/tag7.xml"/><Relationship Id="rId2" Type="http://schemas.openxmlformats.org/officeDocument/2006/relationships/slideLayout" Target="../slideLayouts/slideLayout69.xml"/><Relationship Id="rId16" Type="http://schemas.openxmlformats.org/officeDocument/2006/relationships/image" Target="../media/image5.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vmlDrawing" Target="../drawings/vmlDrawing7.vml"/><Relationship Id="rId5" Type="http://schemas.openxmlformats.org/officeDocument/2006/relationships/slideLayout" Target="../slideLayouts/slideLayout72.xml"/><Relationship Id="rId15" Type="http://schemas.openxmlformats.org/officeDocument/2006/relationships/image" Target="../media/image2.png"/><Relationship Id="rId10" Type="http://schemas.openxmlformats.org/officeDocument/2006/relationships/theme" Target="../theme/theme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1.emf"/><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oleObject" Target="../embeddings/oleObject8.bin"/><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ags" Target="../tags/tag8.xml"/><Relationship Id="rId5" Type="http://schemas.openxmlformats.org/officeDocument/2006/relationships/slideLayout" Target="../slideLayouts/slideLayout81.xml"/><Relationship Id="rId15" Type="http://schemas.openxmlformats.org/officeDocument/2006/relationships/image" Target="../media/image5.png"/><Relationship Id="rId10" Type="http://schemas.openxmlformats.org/officeDocument/2006/relationships/vmlDrawing" Target="../drawings/vmlDrawing8.vml"/><Relationship Id="rId4" Type="http://schemas.openxmlformats.org/officeDocument/2006/relationships/slideLayout" Target="../slideLayouts/slideLayout80.xml"/><Relationship Id="rId9" Type="http://schemas.openxmlformats.org/officeDocument/2006/relationships/theme" Target="../theme/theme8.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7.wmf"/><Relationship Id="rId2" Type="http://schemas.openxmlformats.org/officeDocument/2006/relationships/slideLayout" Target="../slideLayouts/slideLayout86.xml"/><Relationship Id="rId16" Type="http://schemas.openxmlformats.org/officeDocument/2006/relationships/theme" Target="../theme/theme9.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143256" y="139701"/>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en-GB" dirty="0">
              <a:solidFill>
                <a:srgbClr val="FFFFFF"/>
              </a:solidFill>
            </a:endParaRPr>
          </a:p>
        </p:txBody>
      </p:sp>
      <p:graphicFrame>
        <p:nvGraphicFramePr>
          <p:cNvPr id="7" name="Object 6" hidden="1"/>
          <p:cNvGraphicFramePr>
            <a:graphicFrameLocks noChangeAspect="1"/>
          </p:cNvGraphicFramePr>
          <p:nvPr>
            <p:custDataLst>
              <p:tags r:id="rId1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white">
          <a:xfrm>
            <a:off x="609600" y="494522"/>
            <a:ext cx="9432000" cy="916678"/>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white">
          <a:xfrm>
            <a:off x="609600" y="1516063"/>
            <a:ext cx="10968000" cy="450799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pic>
        <p:nvPicPr>
          <p:cNvPr id="8" name="Picture 19" descr="C:\Users\vno013\Desktop\Maersk_Line_Logo.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3807072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180000" indent="-180000" algn="l" defTabSz="914400" rtl="0" eaLnBrk="1" latinLnBrk="0" hangingPunct="1">
        <a:spcBef>
          <a:spcPts val="1200"/>
        </a:spcBef>
        <a:spcAft>
          <a:spcPts val="0"/>
        </a:spcAft>
        <a:buSzPct val="80000"/>
        <a:buFont typeface="Arial" pitchFamily="34" charset="0"/>
        <a:buChar char="•"/>
        <a:defRPr sz="1800" kern="1200">
          <a:solidFill>
            <a:schemeClr val="bg1"/>
          </a:solidFill>
          <a:latin typeface="+mn-lt"/>
          <a:ea typeface="+mn-ea"/>
          <a:cs typeface="+mn-cs"/>
        </a:defRPr>
      </a:lvl1pPr>
      <a:lvl2pPr marL="363600" indent="-180000" algn="l" defTabSz="914400" rtl="0" eaLnBrk="1" latinLnBrk="0" hangingPunct="1">
        <a:spcBef>
          <a:spcPts val="1200"/>
        </a:spcBef>
        <a:spcAft>
          <a:spcPts val="0"/>
        </a:spcAft>
        <a:buSzPct val="80000"/>
        <a:buFont typeface="Arial" pitchFamily="34" charset="0"/>
        <a:buChar char="•"/>
        <a:defRPr sz="1600" kern="1200">
          <a:solidFill>
            <a:schemeClr val="bg1"/>
          </a:solidFill>
          <a:latin typeface="+mn-lt"/>
          <a:ea typeface="+mn-ea"/>
          <a:cs typeface="+mn-cs"/>
        </a:defRPr>
      </a:lvl2pPr>
      <a:lvl3pPr marL="543600" indent="-180000" algn="l" defTabSz="914400"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3pPr>
      <a:lvl4pPr marL="723600" indent="-180000" algn="l" defTabSz="914400"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4pPr>
      <a:lvl5pPr marL="903600" indent="-180000" algn="l" defTabSz="914400"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sp>
        <p:nvSpPr>
          <p:cNvPr id="1027" name="Rectangle 4"/>
          <p:cNvSpPr>
            <a:spLocks noGrp="1" noChangeArrowheads="1"/>
          </p:cNvSpPr>
          <p:nvPr>
            <p:ph type="title"/>
          </p:nvPr>
        </p:nvSpPr>
        <p:spPr bwMode="auto">
          <a:xfrm>
            <a:off x="766233" y="287342"/>
            <a:ext cx="10653184" cy="15128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1028" name="Rectangle 5"/>
          <p:cNvSpPr>
            <a:spLocks noGrp="1" noChangeArrowheads="1"/>
          </p:cNvSpPr>
          <p:nvPr>
            <p:ph type="body" idx="1"/>
          </p:nvPr>
        </p:nvSpPr>
        <p:spPr bwMode="auto">
          <a:xfrm>
            <a:off x="766233" y="2085975"/>
            <a:ext cx="10653184" cy="3778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29702" name="Rectangle 6"/>
          <p:cNvSpPr>
            <a:spLocks noGrp="1" noChangeArrowheads="1"/>
          </p:cNvSpPr>
          <p:nvPr>
            <p:ph type="dt" sz="half" idx="2"/>
          </p:nvPr>
        </p:nvSpPr>
        <p:spPr bwMode="auto">
          <a:xfrm>
            <a:off x="4692652" y="6548442"/>
            <a:ext cx="3996267"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r>
              <a:rPr lang="en-US" dirty="0" smtClean="0">
                <a:solidFill>
                  <a:prstClr val="black"/>
                </a:solidFill>
              </a:rPr>
              <a:t>10/25/2011</a:t>
            </a:r>
            <a:endParaRPr lang="en-GB" dirty="0">
              <a:solidFill>
                <a:prstClr val="black"/>
              </a:solidFill>
            </a:endParaRPr>
          </a:p>
        </p:txBody>
      </p:sp>
      <p:sp>
        <p:nvSpPr>
          <p:cNvPr id="29704" name="Rectangle 8"/>
          <p:cNvSpPr>
            <a:spLocks noGrp="1" noChangeArrowheads="1"/>
          </p:cNvSpPr>
          <p:nvPr>
            <p:ph type="sldNum" sz="quarter" idx="4"/>
          </p:nvPr>
        </p:nvSpPr>
        <p:spPr bwMode="auto">
          <a:xfrm>
            <a:off x="812800" y="6548442"/>
            <a:ext cx="1439333"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fld id="{1E883611-811B-4CE6-9ACC-5C51EF93CCFD}" type="slidenum">
              <a:rPr lang="en-GB" smtClean="0">
                <a:solidFill>
                  <a:prstClr val="black"/>
                </a:solidFill>
              </a:rPr>
              <a:pPr defTabSz="914323" fontAlgn="base">
                <a:spcBef>
                  <a:spcPct val="0"/>
                </a:spcBef>
                <a:spcAft>
                  <a:spcPct val="0"/>
                </a:spcAft>
                <a:defRPr/>
              </a:pPr>
              <a:t>‹#›</a:t>
            </a:fld>
            <a:endParaRPr lang="en-GB" dirty="0">
              <a:solidFill>
                <a:prstClr val="black"/>
              </a:solidFill>
            </a:endParaRPr>
          </a:p>
        </p:txBody>
      </p:sp>
      <p:sp>
        <p:nvSpPr>
          <p:cNvPr id="29708" name="Text Box 12"/>
          <p:cNvSpPr txBox="1">
            <a:spLocks noChangeArrowheads="1"/>
          </p:cNvSpPr>
          <p:nvPr/>
        </p:nvSpPr>
        <p:spPr bwMode="auto">
          <a:xfrm>
            <a:off x="-2705100" y="6369054"/>
            <a:ext cx="2565400" cy="296363"/>
          </a:xfrm>
          <a:prstGeom prst="rect">
            <a:avLst/>
          </a:prstGeom>
          <a:noFill/>
          <a:ln w="9525" algn="ctr">
            <a:noFill/>
            <a:miter lim="800000"/>
            <a:headEnd/>
            <a:tailEnd/>
          </a:ln>
          <a:effectLst/>
        </p:spPr>
        <p:txBody>
          <a:bodyPr lIns="0" tIns="0" rIns="0" bIns="0">
            <a:spAutoFit/>
          </a:bodyPr>
          <a:lstStyle/>
          <a:p>
            <a:pPr algn="r" defTabSz="914323" fontAlgn="base">
              <a:lnSpc>
                <a:spcPct val="107000"/>
              </a:lnSpc>
              <a:spcBef>
                <a:spcPct val="50000"/>
              </a:spcBef>
              <a:spcAft>
                <a:spcPct val="0"/>
              </a:spcAft>
              <a:defRPr/>
            </a:pPr>
            <a:r>
              <a:rPr lang="en-GB" sz="900" dirty="0">
                <a:solidFill>
                  <a:prstClr val="white"/>
                </a:solidFill>
              </a:rPr>
              <a:t>Insert department name via ‘View/Header and Footer…’</a:t>
            </a:r>
          </a:p>
        </p:txBody>
      </p:sp>
      <p:sp>
        <p:nvSpPr>
          <p:cNvPr id="29709" name="Line 13"/>
          <p:cNvSpPr>
            <a:spLocks noChangeShapeType="1"/>
          </p:cNvSpPr>
          <p:nvPr/>
        </p:nvSpPr>
        <p:spPr bwMode="auto">
          <a:xfrm>
            <a:off x="-632882" y="6704013"/>
            <a:ext cx="480484" cy="0"/>
          </a:xfrm>
          <a:prstGeom prst="line">
            <a:avLst/>
          </a:prstGeom>
          <a:noFill/>
          <a:ln w="9525">
            <a:solidFill>
              <a:schemeClr val="bg1"/>
            </a:solidFill>
            <a:round/>
            <a:headEnd/>
            <a:tailEnd/>
          </a:ln>
          <a:effectLst/>
        </p:spPr>
        <p:txBody>
          <a:bodyPr lIns="0" tIns="0" rIns="0" bIns="0"/>
          <a:lstStyle/>
          <a:p>
            <a:pPr defTabSz="914323" fontAlgn="base">
              <a:lnSpc>
                <a:spcPct val="107000"/>
              </a:lnSpc>
              <a:spcBef>
                <a:spcPct val="0"/>
              </a:spcBef>
              <a:spcAft>
                <a:spcPct val="0"/>
              </a:spcAft>
              <a:defRPr/>
            </a:pPr>
            <a:endParaRPr lang="en-GB" sz="1400" dirty="0">
              <a:solidFill>
                <a:prstClr val="black"/>
              </a:solidFill>
            </a:endParaRPr>
          </a:p>
        </p:txBody>
      </p:sp>
      <p:pic>
        <p:nvPicPr>
          <p:cNvPr id="1034" name="Picture 14" descr="Maersk_Line_Hvid baggrund"/>
          <p:cNvPicPr>
            <a:picLocks noChangeAspect="1" noChangeArrowheads="1"/>
          </p:cNvPicPr>
          <p:nvPr/>
        </p:nvPicPr>
        <p:blipFill>
          <a:blip r:embed="rId17" cstate="print"/>
          <a:srcRect/>
          <a:stretch>
            <a:fillRect/>
          </a:stretch>
        </p:blipFill>
        <p:spPr bwMode="auto">
          <a:xfrm>
            <a:off x="9698569" y="6013451"/>
            <a:ext cx="2493433" cy="844550"/>
          </a:xfrm>
          <a:prstGeom prst="rect">
            <a:avLst/>
          </a:prstGeom>
          <a:noFill/>
          <a:ln w="9525">
            <a:noFill/>
            <a:miter lim="800000"/>
            <a:headEnd/>
            <a:tailEnd/>
          </a:ln>
        </p:spPr>
      </p:pic>
    </p:spTree>
    <p:extLst>
      <p:ext uri="{BB962C8B-B14F-4D97-AF65-F5344CB8AC3E}">
        <p14:creationId xmlns:p14="http://schemas.microsoft.com/office/powerpoint/2010/main" val="1175766819"/>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Lst>
  <p:hf hdr="0" ftr="0"/>
  <p:txStyles>
    <p:titleStyle>
      <a:lvl1pPr algn="l" rtl="0" eaLnBrk="0" fontAlgn="base" hangingPunct="0">
        <a:lnSpc>
          <a:spcPct val="94000"/>
        </a:lnSpc>
        <a:spcBef>
          <a:spcPct val="0"/>
        </a:spcBef>
        <a:spcAft>
          <a:spcPct val="0"/>
        </a:spcAft>
        <a:defRPr sz="2800">
          <a:solidFill>
            <a:schemeClr val="tx1"/>
          </a:solidFill>
          <a:latin typeface="+mj-lt"/>
          <a:ea typeface="+mj-ea"/>
          <a:cs typeface="+mj-cs"/>
        </a:defRPr>
      </a:lvl1pPr>
      <a:lvl2pPr algn="l" rtl="0" eaLnBrk="0" fontAlgn="base" hangingPunct="0">
        <a:lnSpc>
          <a:spcPct val="94000"/>
        </a:lnSpc>
        <a:spcBef>
          <a:spcPct val="0"/>
        </a:spcBef>
        <a:spcAft>
          <a:spcPct val="0"/>
        </a:spcAft>
        <a:defRPr sz="2800">
          <a:solidFill>
            <a:schemeClr val="tx1"/>
          </a:solidFill>
          <a:latin typeface="Verdana" pitchFamily="34" charset="0"/>
        </a:defRPr>
      </a:lvl2pPr>
      <a:lvl3pPr algn="l" rtl="0" eaLnBrk="0" fontAlgn="base" hangingPunct="0">
        <a:lnSpc>
          <a:spcPct val="94000"/>
        </a:lnSpc>
        <a:spcBef>
          <a:spcPct val="0"/>
        </a:spcBef>
        <a:spcAft>
          <a:spcPct val="0"/>
        </a:spcAft>
        <a:defRPr sz="2800">
          <a:solidFill>
            <a:schemeClr val="tx1"/>
          </a:solidFill>
          <a:latin typeface="Verdana" pitchFamily="34" charset="0"/>
        </a:defRPr>
      </a:lvl3pPr>
      <a:lvl4pPr algn="l" rtl="0" eaLnBrk="0" fontAlgn="base" hangingPunct="0">
        <a:lnSpc>
          <a:spcPct val="94000"/>
        </a:lnSpc>
        <a:spcBef>
          <a:spcPct val="0"/>
        </a:spcBef>
        <a:spcAft>
          <a:spcPct val="0"/>
        </a:spcAft>
        <a:defRPr sz="2800">
          <a:solidFill>
            <a:schemeClr val="tx1"/>
          </a:solidFill>
          <a:latin typeface="Verdana" pitchFamily="34" charset="0"/>
        </a:defRPr>
      </a:lvl4pPr>
      <a:lvl5pPr algn="l" rtl="0" eaLnBrk="0" fontAlgn="base" hangingPunct="0">
        <a:lnSpc>
          <a:spcPct val="94000"/>
        </a:lnSpc>
        <a:spcBef>
          <a:spcPct val="0"/>
        </a:spcBef>
        <a:spcAft>
          <a:spcPct val="0"/>
        </a:spcAft>
        <a:defRPr sz="2800">
          <a:solidFill>
            <a:schemeClr val="tx1"/>
          </a:solidFill>
          <a:latin typeface="Verdana" pitchFamily="34" charset="0"/>
        </a:defRPr>
      </a:lvl5pPr>
      <a:lvl6pPr marL="457162" algn="l" rtl="0" fontAlgn="base">
        <a:lnSpc>
          <a:spcPct val="94000"/>
        </a:lnSpc>
        <a:spcBef>
          <a:spcPct val="0"/>
        </a:spcBef>
        <a:spcAft>
          <a:spcPct val="0"/>
        </a:spcAft>
        <a:defRPr sz="2800">
          <a:solidFill>
            <a:schemeClr val="tx1"/>
          </a:solidFill>
          <a:latin typeface="Verdana" pitchFamily="34" charset="0"/>
        </a:defRPr>
      </a:lvl6pPr>
      <a:lvl7pPr marL="914323" algn="l" rtl="0" fontAlgn="base">
        <a:lnSpc>
          <a:spcPct val="94000"/>
        </a:lnSpc>
        <a:spcBef>
          <a:spcPct val="0"/>
        </a:spcBef>
        <a:spcAft>
          <a:spcPct val="0"/>
        </a:spcAft>
        <a:defRPr sz="2800">
          <a:solidFill>
            <a:schemeClr val="tx1"/>
          </a:solidFill>
          <a:latin typeface="Verdana" pitchFamily="34" charset="0"/>
        </a:defRPr>
      </a:lvl7pPr>
      <a:lvl8pPr marL="1371485" algn="l" rtl="0" fontAlgn="base">
        <a:lnSpc>
          <a:spcPct val="94000"/>
        </a:lnSpc>
        <a:spcBef>
          <a:spcPct val="0"/>
        </a:spcBef>
        <a:spcAft>
          <a:spcPct val="0"/>
        </a:spcAft>
        <a:defRPr sz="2800">
          <a:solidFill>
            <a:schemeClr val="tx1"/>
          </a:solidFill>
          <a:latin typeface="Verdana" pitchFamily="34" charset="0"/>
        </a:defRPr>
      </a:lvl8pPr>
      <a:lvl9pPr marL="1828646" algn="l" rtl="0" fontAlgn="base">
        <a:lnSpc>
          <a:spcPct val="94000"/>
        </a:lnSpc>
        <a:spcBef>
          <a:spcPct val="0"/>
        </a:spcBef>
        <a:spcAft>
          <a:spcPct val="0"/>
        </a:spcAft>
        <a:defRPr sz="2800">
          <a:solidFill>
            <a:schemeClr val="tx1"/>
          </a:solidFill>
          <a:latin typeface="Verdana" pitchFamily="34" charset="0"/>
        </a:defRPr>
      </a:lvl9pPr>
    </p:titleStyle>
    <p:bodyStyle>
      <a:lvl1pPr marL="206358" indent="-206358" algn="l" rtl="0" eaLnBrk="0" fontAlgn="base" hangingPunct="0">
        <a:lnSpc>
          <a:spcPct val="111000"/>
        </a:lnSpc>
        <a:spcBef>
          <a:spcPct val="20000"/>
        </a:spcBef>
        <a:spcAft>
          <a:spcPct val="0"/>
        </a:spcAft>
        <a:buClr>
          <a:srgbClr val="69B8D6"/>
        </a:buClr>
        <a:buChar char="•"/>
        <a:defRPr>
          <a:solidFill>
            <a:schemeClr val="tx1"/>
          </a:solidFill>
          <a:latin typeface="+mn-lt"/>
          <a:ea typeface="+mn-ea"/>
          <a:cs typeface="+mn-cs"/>
        </a:defRPr>
      </a:lvl1pPr>
      <a:lvl2pPr marL="420652" indent="-212707" algn="l" rtl="0" eaLnBrk="0" fontAlgn="base" hangingPunct="0">
        <a:lnSpc>
          <a:spcPts val="2600"/>
        </a:lnSpc>
        <a:spcBef>
          <a:spcPct val="20000"/>
        </a:spcBef>
        <a:spcAft>
          <a:spcPct val="0"/>
        </a:spcAft>
        <a:buClr>
          <a:srgbClr val="69B8D6"/>
        </a:buClr>
        <a:buChar char="•"/>
        <a:defRPr sz="1400">
          <a:solidFill>
            <a:schemeClr val="tx1"/>
          </a:solidFill>
          <a:latin typeface="+mn-lt"/>
        </a:defRPr>
      </a:lvl2pPr>
      <a:lvl3pPr marL="641296" indent="-219056" algn="l" rtl="0" eaLnBrk="0" fontAlgn="base" hangingPunct="0">
        <a:lnSpc>
          <a:spcPct val="125000"/>
        </a:lnSpc>
        <a:spcBef>
          <a:spcPct val="20000"/>
        </a:spcBef>
        <a:spcAft>
          <a:spcPct val="0"/>
        </a:spcAft>
        <a:buClr>
          <a:srgbClr val="69B8D6"/>
        </a:buClr>
        <a:buChar char="•"/>
        <a:defRPr sz="1200">
          <a:solidFill>
            <a:schemeClr val="tx1"/>
          </a:solidFill>
          <a:latin typeface="+mn-lt"/>
        </a:defRPr>
      </a:lvl3pPr>
      <a:lvl4pPr marL="855591" indent="-212707" algn="l" rtl="0" eaLnBrk="0" fontAlgn="base" hangingPunct="0">
        <a:lnSpc>
          <a:spcPct val="119000"/>
        </a:lnSpc>
        <a:spcBef>
          <a:spcPct val="20000"/>
        </a:spcBef>
        <a:spcAft>
          <a:spcPct val="0"/>
        </a:spcAft>
        <a:buClr>
          <a:srgbClr val="69B8D6"/>
        </a:buClr>
        <a:buChar char="•"/>
        <a:defRPr sz="1000">
          <a:solidFill>
            <a:schemeClr val="tx1"/>
          </a:solidFill>
          <a:latin typeface="+mn-lt"/>
        </a:defRPr>
      </a:lvl4pPr>
      <a:lvl5pPr marL="1069885" indent="-212707" algn="l" rtl="0" eaLnBrk="0" fontAlgn="base" hangingPunct="0">
        <a:lnSpc>
          <a:spcPct val="125000"/>
        </a:lnSpc>
        <a:spcBef>
          <a:spcPct val="20000"/>
        </a:spcBef>
        <a:spcAft>
          <a:spcPct val="0"/>
        </a:spcAft>
        <a:buClr>
          <a:srgbClr val="69B8D6"/>
        </a:buClr>
        <a:buChar char="•"/>
        <a:defRPr sz="800">
          <a:solidFill>
            <a:schemeClr val="tx1"/>
          </a:solidFill>
          <a:latin typeface="+mn-lt"/>
        </a:defRPr>
      </a:lvl5pPr>
      <a:lvl6pPr marL="1527046" indent="-212707" algn="l" rtl="0" fontAlgn="base">
        <a:lnSpc>
          <a:spcPct val="125000"/>
        </a:lnSpc>
        <a:spcBef>
          <a:spcPct val="20000"/>
        </a:spcBef>
        <a:spcAft>
          <a:spcPct val="0"/>
        </a:spcAft>
        <a:buClr>
          <a:srgbClr val="69B8D6"/>
        </a:buClr>
        <a:buChar char="•"/>
        <a:defRPr sz="800">
          <a:solidFill>
            <a:schemeClr val="tx1"/>
          </a:solidFill>
          <a:latin typeface="+mn-lt"/>
        </a:defRPr>
      </a:lvl6pPr>
      <a:lvl7pPr marL="1984208" indent="-212707" algn="l" rtl="0" fontAlgn="base">
        <a:lnSpc>
          <a:spcPct val="125000"/>
        </a:lnSpc>
        <a:spcBef>
          <a:spcPct val="20000"/>
        </a:spcBef>
        <a:spcAft>
          <a:spcPct val="0"/>
        </a:spcAft>
        <a:buClr>
          <a:srgbClr val="69B8D6"/>
        </a:buClr>
        <a:buChar char="•"/>
        <a:defRPr sz="800">
          <a:solidFill>
            <a:schemeClr val="tx1"/>
          </a:solidFill>
          <a:latin typeface="+mn-lt"/>
        </a:defRPr>
      </a:lvl7pPr>
      <a:lvl8pPr marL="2441370" indent="-212707" algn="l" rtl="0" fontAlgn="base">
        <a:lnSpc>
          <a:spcPct val="125000"/>
        </a:lnSpc>
        <a:spcBef>
          <a:spcPct val="20000"/>
        </a:spcBef>
        <a:spcAft>
          <a:spcPct val="0"/>
        </a:spcAft>
        <a:buClr>
          <a:srgbClr val="69B8D6"/>
        </a:buClr>
        <a:buChar char="•"/>
        <a:defRPr sz="800">
          <a:solidFill>
            <a:schemeClr val="tx1"/>
          </a:solidFill>
          <a:latin typeface="+mn-lt"/>
        </a:defRPr>
      </a:lvl8pPr>
      <a:lvl9pPr marL="2898531" indent="-212707" algn="l" rtl="0" fontAlgn="base">
        <a:lnSpc>
          <a:spcPct val="125000"/>
        </a:lnSpc>
        <a:spcBef>
          <a:spcPct val="20000"/>
        </a:spcBef>
        <a:spcAft>
          <a:spcPct val="0"/>
        </a:spcAft>
        <a:buClr>
          <a:srgbClr val="69B8D6"/>
        </a:buClr>
        <a:buChar char="•"/>
        <a:defRPr sz="800">
          <a:solidFill>
            <a:schemeClr val="tx1"/>
          </a:solidFill>
          <a:latin typeface="+mn-lt"/>
        </a:defRPr>
      </a:lvl9pPr>
    </p:bodyStyle>
    <p:otherStyle>
      <a:defPPr>
        <a:defRPr lang="en-US"/>
      </a:defPPr>
      <a:lvl1pPr marL="0" algn="l" defTabSz="914323" rtl="0" eaLnBrk="1" latinLnBrk="0" hangingPunct="1">
        <a:defRPr sz="1800" kern="1200">
          <a:solidFill>
            <a:schemeClr val="tx1"/>
          </a:solidFill>
          <a:latin typeface="+mn-lt"/>
          <a:ea typeface="+mn-ea"/>
          <a:cs typeface="+mn-cs"/>
        </a:defRPr>
      </a:lvl1pPr>
      <a:lvl2pPr marL="457162" algn="l" defTabSz="914323" rtl="0" eaLnBrk="1" latinLnBrk="0" hangingPunct="1">
        <a:defRPr sz="1800" kern="1200">
          <a:solidFill>
            <a:schemeClr val="tx1"/>
          </a:solidFill>
          <a:latin typeface="+mn-lt"/>
          <a:ea typeface="+mn-ea"/>
          <a:cs typeface="+mn-cs"/>
        </a:defRPr>
      </a:lvl2pPr>
      <a:lvl3pPr marL="914323" algn="l" defTabSz="914323" rtl="0" eaLnBrk="1" latinLnBrk="0" hangingPunct="1">
        <a:defRPr sz="1800" kern="1200">
          <a:solidFill>
            <a:schemeClr val="tx1"/>
          </a:solidFill>
          <a:latin typeface="+mn-lt"/>
          <a:ea typeface="+mn-ea"/>
          <a:cs typeface="+mn-cs"/>
        </a:defRPr>
      </a:lvl3pPr>
      <a:lvl4pPr marL="1371485" algn="l" defTabSz="914323" rtl="0" eaLnBrk="1" latinLnBrk="0" hangingPunct="1">
        <a:defRPr sz="1800" kern="1200">
          <a:solidFill>
            <a:schemeClr val="tx1"/>
          </a:solidFill>
          <a:latin typeface="+mn-lt"/>
          <a:ea typeface="+mn-ea"/>
          <a:cs typeface="+mn-cs"/>
        </a:defRPr>
      </a:lvl4pPr>
      <a:lvl5pPr marL="1828646" algn="l" defTabSz="914323" rtl="0" eaLnBrk="1" latinLnBrk="0" hangingPunct="1">
        <a:defRPr sz="1800" kern="1200">
          <a:solidFill>
            <a:schemeClr val="tx1"/>
          </a:solidFill>
          <a:latin typeface="+mn-lt"/>
          <a:ea typeface="+mn-ea"/>
          <a:cs typeface="+mn-cs"/>
        </a:defRPr>
      </a:lvl5pPr>
      <a:lvl6pPr marL="2285807" algn="l" defTabSz="914323" rtl="0" eaLnBrk="1" latinLnBrk="0" hangingPunct="1">
        <a:defRPr sz="1800" kern="1200">
          <a:solidFill>
            <a:schemeClr val="tx1"/>
          </a:solidFill>
          <a:latin typeface="+mn-lt"/>
          <a:ea typeface="+mn-ea"/>
          <a:cs typeface="+mn-cs"/>
        </a:defRPr>
      </a:lvl6pPr>
      <a:lvl7pPr marL="2742969" algn="l" defTabSz="914323" rtl="0" eaLnBrk="1" latinLnBrk="0" hangingPunct="1">
        <a:defRPr sz="1800" kern="1200">
          <a:solidFill>
            <a:schemeClr val="tx1"/>
          </a:solidFill>
          <a:latin typeface="+mn-lt"/>
          <a:ea typeface="+mn-ea"/>
          <a:cs typeface="+mn-cs"/>
        </a:defRPr>
      </a:lvl7pPr>
      <a:lvl8pPr marL="3200131" algn="l" defTabSz="914323" rtl="0" eaLnBrk="1" latinLnBrk="0" hangingPunct="1">
        <a:defRPr sz="1800" kern="1200">
          <a:solidFill>
            <a:schemeClr val="tx1"/>
          </a:solidFill>
          <a:latin typeface="+mn-lt"/>
          <a:ea typeface="+mn-ea"/>
          <a:cs typeface="+mn-cs"/>
        </a:defRPr>
      </a:lvl8pPr>
      <a:lvl9pPr marL="3657292" algn="l" defTabSz="91432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anchor="ctr"/>
          <a:lstStyle/>
          <a:p>
            <a:pPr fontAlgn="base">
              <a:lnSpc>
                <a:spcPct val="107000"/>
              </a:lnSpc>
              <a:spcBef>
                <a:spcPct val="0"/>
              </a:spcBef>
              <a:spcAft>
                <a:spcPct val="0"/>
              </a:spcAft>
              <a:defRPr/>
            </a:pPr>
            <a:endParaRPr lang="da-DK" sz="1400" dirty="0">
              <a:solidFill>
                <a:srgbClr val="000000"/>
              </a:solidFill>
            </a:endParaRPr>
          </a:p>
        </p:txBody>
      </p:sp>
      <p:sp>
        <p:nvSpPr>
          <p:cNvPr id="2051" name="Rectangle 4"/>
          <p:cNvSpPr>
            <a:spLocks noGrp="1" noChangeArrowheads="1"/>
          </p:cNvSpPr>
          <p:nvPr>
            <p:ph type="title"/>
          </p:nvPr>
        </p:nvSpPr>
        <p:spPr bwMode="auto">
          <a:xfrm>
            <a:off x="766233" y="287341"/>
            <a:ext cx="10653184" cy="15128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2052" name="Rectangle 5"/>
          <p:cNvSpPr>
            <a:spLocks noGrp="1" noChangeArrowheads="1"/>
          </p:cNvSpPr>
          <p:nvPr>
            <p:ph type="body" idx="1"/>
          </p:nvPr>
        </p:nvSpPr>
        <p:spPr bwMode="auto">
          <a:xfrm>
            <a:off x="766233" y="2085975"/>
            <a:ext cx="10653184" cy="3778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29702" name="Rectangle 6"/>
          <p:cNvSpPr>
            <a:spLocks noGrp="1" noChangeArrowheads="1"/>
          </p:cNvSpPr>
          <p:nvPr>
            <p:ph type="dt" sz="half" idx="2"/>
          </p:nvPr>
        </p:nvSpPr>
        <p:spPr bwMode="auto">
          <a:xfrm>
            <a:off x="4692651" y="6548441"/>
            <a:ext cx="3996267"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solidFill>
                  <a:srgbClr val="000000"/>
                </a:solidFill>
              </a:defRPr>
            </a:lvl1pPr>
          </a:lstStyle>
          <a:p>
            <a:pPr fontAlgn="base">
              <a:spcBef>
                <a:spcPct val="0"/>
              </a:spcBef>
              <a:spcAft>
                <a:spcPct val="0"/>
              </a:spcAft>
              <a:defRPr/>
            </a:pPr>
            <a:fld id="{3A8228B0-ACD1-4DC5-B5C7-ED74712569F1}" type="datetime1">
              <a:rPr lang="en-GB"/>
              <a:pPr fontAlgn="base">
                <a:spcBef>
                  <a:spcPct val="0"/>
                </a:spcBef>
                <a:spcAft>
                  <a:spcPct val="0"/>
                </a:spcAft>
                <a:defRPr/>
              </a:pPr>
              <a:t>09/12/2016</a:t>
            </a:fld>
            <a:endParaRPr lang="en-GB" dirty="0"/>
          </a:p>
        </p:txBody>
      </p:sp>
      <p:sp>
        <p:nvSpPr>
          <p:cNvPr id="29704" name="Rectangle 8"/>
          <p:cNvSpPr>
            <a:spLocks noGrp="1" noChangeArrowheads="1"/>
          </p:cNvSpPr>
          <p:nvPr>
            <p:ph type="sldNum" sz="quarter" idx="4"/>
          </p:nvPr>
        </p:nvSpPr>
        <p:spPr bwMode="auto">
          <a:xfrm>
            <a:off x="3069167" y="6548441"/>
            <a:ext cx="1439333"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solidFill>
                  <a:srgbClr val="000000"/>
                </a:solidFill>
              </a:defRPr>
            </a:lvl1pPr>
          </a:lstStyle>
          <a:p>
            <a:pPr fontAlgn="base">
              <a:spcBef>
                <a:spcPct val="0"/>
              </a:spcBef>
              <a:spcAft>
                <a:spcPct val="0"/>
              </a:spcAft>
              <a:defRPr/>
            </a:pPr>
            <a:r>
              <a:rPr lang="en-GB" dirty="0"/>
              <a:t>Slide no. </a:t>
            </a:r>
            <a:fld id="{C09ABB1A-3D06-4CF0-AD58-66FF10B3DE85}" type="slidenum">
              <a:rPr lang="en-GB"/>
              <a:pPr fontAlgn="base">
                <a:spcBef>
                  <a:spcPct val="0"/>
                </a:spcBef>
                <a:spcAft>
                  <a:spcPct val="0"/>
                </a:spcAft>
                <a:defRPr/>
              </a:pPr>
              <a:t>‹#›</a:t>
            </a:fld>
            <a:endParaRPr lang="en-GB" dirty="0"/>
          </a:p>
        </p:txBody>
      </p:sp>
      <p:sp>
        <p:nvSpPr>
          <p:cNvPr id="29706" name="Rectangle 10"/>
          <p:cNvSpPr>
            <a:spLocks noGrp="1" noChangeArrowheads="1"/>
          </p:cNvSpPr>
          <p:nvPr>
            <p:ph type="ftr" sz="quarter" idx="3"/>
          </p:nvPr>
        </p:nvSpPr>
        <p:spPr bwMode="auto">
          <a:xfrm>
            <a:off x="766236" y="6548441"/>
            <a:ext cx="2161119"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solidFill>
                  <a:srgbClr val="000000"/>
                </a:solidFill>
              </a:defRPr>
            </a:lvl1pPr>
          </a:lstStyle>
          <a:p>
            <a:pPr fontAlgn="base">
              <a:spcBef>
                <a:spcPct val="0"/>
              </a:spcBef>
              <a:spcAft>
                <a:spcPct val="0"/>
              </a:spcAft>
              <a:defRPr/>
            </a:pPr>
            <a:r>
              <a:rPr lang="en-GB" dirty="0"/>
              <a:t>Department</a:t>
            </a:r>
          </a:p>
        </p:txBody>
      </p:sp>
      <p:sp>
        <p:nvSpPr>
          <p:cNvPr id="29708" name="Text Box 12"/>
          <p:cNvSpPr txBox="1">
            <a:spLocks noChangeArrowheads="1"/>
          </p:cNvSpPr>
          <p:nvPr/>
        </p:nvSpPr>
        <p:spPr bwMode="auto">
          <a:xfrm>
            <a:off x="-2705101" y="6369053"/>
            <a:ext cx="2565401" cy="296363"/>
          </a:xfrm>
          <a:prstGeom prst="rect">
            <a:avLst/>
          </a:prstGeom>
          <a:noFill/>
          <a:ln w="9525" algn="ctr">
            <a:noFill/>
            <a:miter lim="800000"/>
            <a:headEnd/>
            <a:tailEnd/>
          </a:ln>
          <a:effectLst/>
        </p:spPr>
        <p:txBody>
          <a:bodyPr lIns="0" tIns="0" rIns="0" bIns="0">
            <a:spAutoFit/>
          </a:bodyPr>
          <a:lstStyle/>
          <a:p>
            <a:pPr algn="r" fontAlgn="base">
              <a:lnSpc>
                <a:spcPct val="107000"/>
              </a:lnSpc>
              <a:spcBef>
                <a:spcPct val="50000"/>
              </a:spcBef>
              <a:spcAft>
                <a:spcPct val="0"/>
              </a:spcAft>
              <a:defRPr/>
            </a:pPr>
            <a:r>
              <a:rPr lang="en-GB" sz="900" dirty="0">
                <a:solidFill>
                  <a:srgbClr val="FFFFFF"/>
                </a:solidFill>
              </a:rPr>
              <a:t>Insert department name via ‘View/Header and Footer…’</a:t>
            </a:r>
          </a:p>
        </p:txBody>
      </p:sp>
      <p:sp>
        <p:nvSpPr>
          <p:cNvPr id="29709" name="Line 13"/>
          <p:cNvSpPr>
            <a:spLocks noChangeShapeType="1"/>
          </p:cNvSpPr>
          <p:nvPr/>
        </p:nvSpPr>
        <p:spPr bwMode="auto">
          <a:xfrm>
            <a:off x="-632883" y="6704013"/>
            <a:ext cx="480484" cy="0"/>
          </a:xfrm>
          <a:prstGeom prst="line">
            <a:avLst/>
          </a:prstGeom>
          <a:noFill/>
          <a:ln w="9525">
            <a:solidFill>
              <a:schemeClr val="bg1"/>
            </a:solidFill>
            <a:round/>
            <a:headEnd/>
            <a:tailEnd/>
          </a:ln>
          <a:effectLst/>
        </p:spPr>
        <p:txBody>
          <a:bodyPr lIns="0" tIns="0" rIns="0" bIns="0"/>
          <a:lstStyle/>
          <a:p>
            <a:pPr fontAlgn="base">
              <a:lnSpc>
                <a:spcPct val="107000"/>
              </a:lnSpc>
              <a:spcBef>
                <a:spcPct val="0"/>
              </a:spcBef>
              <a:spcAft>
                <a:spcPct val="0"/>
              </a:spcAft>
              <a:defRPr/>
            </a:pPr>
            <a:endParaRPr lang="da-DK" sz="1400" dirty="0">
              <a:solidFill>
                <a:srgbClr val="000000"/>
              </a:solidFill>
            </a:endParaRPr>
          </a:p>
        </p:txBody>
      </p:sp>
      <p:pic>
        <p:nvPicPr>
          <p:cNvPr id="2058" name="Picture 16" descr="Maersk_Line_Hvid baggrund"/>
          <p:cNvPicPr>
            <a:picLocks noChangeAspect="1" noChangeArrowheads="1"/>
          </p:cNvPicPr>
          <p:nvPr/>
        </p:nvPicPr>
        <p:blipFill>
          <a:blip r:embed="rId14" cstate="print"/>
          <a:srcRect/>
          <a:stretch>
            <a:fillRect/>
          </a:stretch>
        </p:blipFill>
        <p:spPr bwMode="auto">
          <a:xfrm>
            <a:off x="9698568" y="6013450"/>
            <a:ext cx="2493433" cy="844550"/>
          </a:xfrm>
          <a:prstGeom prst="rect">
            <a:avLst/>
          </a:prstGeom>
          <a:noFill/>
          <a:ln w="9525">
            <a:noFill/>
            <a:miter lim="800000"/>
            <a:headEnd/>
            <a:tailEnd/>
          </a:ln>
        </p:spPr>
      </p:pic>
    </p:spTree>
    <p:extLst>
      <p:ext uri="{BB962C8B-B14F-4D97-AF65-F5344CB8AC3E}">
        <p14:creationId xmlns:p14="http://schemas.microsoft.com/office/powerpoint/2010/main" val="770703457"/>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Lst>
  <p:hf hdr="0" dt="0"/>
  <p:txStyles>
    <p:titleStyle>
      <a:lvl1pPr algn="l" rtl="0" eaLnBrk="0" fontAlgn="base" hangingPunct="0">
        <a:lnSpc>
          <a:spcPct val="94000"/>
        </a:lnSpc>
        <a:spcBef>
          <a:spcPct val="0"/>
        </a:spcBef>
        <a:spcAft>
          <a:spcPct val="0"/>
        </a:spcAft>
        <a:defRPr sz="2800">
          <a:solidFill>
            <a:schemeClr val="tx1"/>
          </a:solidFill>
          <a:latin typeface="+mj-lt"/>
          <a:ea typeface="+mj-ea"/>
          <a:cs typeface="+mj-cs"/>
        </a:defRPr>
      </a:lvl1pPr>
      <a:lvl2pPr algn="l" rtl="0" eaLnBrk="0" fontAlgn="base" hangingPunct="0">
        <a:lnSpc>
          <a:spcPct val="94000"/>
        </a:lnSpc>
        <a:spcBef>
          <a:spcPct val="0"/>
        </a:spcBef>
        <a:spcAft>
          <a:spcPct val="0"/>
        </a:spcAft>
        <a:defRPr sz="2800">
          <a:solidFill>
            <a:schemeClr val="tx1"/>
          </a:solidFill>
          <a:latin typeface="Verdana" pitchFamily="34" charset="0"/>
        </a:defRPr>
      </a:lvl2pPr>
      <a:lvl3pPr algn="l" rtl="0" eaLnBrk="0" fontAlgn="base" hangingPunct="0">
        <a:lnSpc>
          <a:spcPct val="94000"/>
        </a:lnSpc>
        <a:spcBef>
          <a:spcPct val="0"/>
        </a:spcBef>
        <a:spcAft>
          <a:spcPct val="0"/>
        </a:spcAft>
        <a:defRPr sz="2800">
          <a:solidFill>
            <a:schemeClr val="tx1"/>
          </a:solidFill>
          <a:latin typeface="Verdana" pitchFamily="34" charset="0"/>
        </a:defRPr>
      </a:lvl3pPr>
      <a:lvl4pPr algn="l" rtl="0" eaLnBrk="0" fontAlgn="base" hangingPunct="0">
        <a:lnSpc>
          <a:spcPct val="94000"/>
        </a:lnSpc>
        <a:spcBef>
          <a:spcPct val="0"/>
        </a:spcBef>
        <a:spcAft>
          <a:spcPct val="0"/>
        </a:spcAft>
        <a:defRPr sz="2800">
          <a:solidFill>
            <a:schemeClr val="tx1"/>
          </a:solidFill>
          <a:latin typeface="Verdana" pitchFamily="34" charset="0"/>
        </a:defRPr>
      </a:lvl4pPr>
      <a:lvl5pPr algn="l" rtl="0" eaLnBrk="0" fontAlgn="base" hangingPunct="0">
        <a:lnSpc>
          <a:spcPct val="94000"/>
        </a:lnSpc>
        <a:spcBef>
          <a:spcPct val="0"/>
        </a:spcBef>
        <a:spcAft>
          <a:spcPct val="0"/>
        </a:spcAft>
        <a:defRPr sz="2800">
          <a:solidFill>
            <a:schemeClr val="tx1"/>
          </a:solidFill>
          <a:latin typeface="Verdana" pitchFamily="34" charset="0"/>
        </a:defRPr>
      </a:lvl5pPr>
      <a:lvl6pPr marL="457200" algn="l" rtl="0" fontAlgn="base">
        <a:lnSpc>
          <a:spcPct val="94000"/>
        </a:lnSpc>
        <a:spcBef>
          <a:spcPct val="0"/>
        </a:spcBef>
        <a:spcAft>
          <a:spcPct val="0"/>
        </a:spcAft>
        <a:defRPr sz="2800">
          <a:solidFill>
            <a:schemeClr val="tx1"/>
          </a:solidFill>
          <a:latin typeface="Verdana" pitchFamily="34" charset="0"/>
        </a:defRPr>
      </a:lvl6pPr>
      <a:lvl7pPr marL="914400" algn="l" rtl="0" fontAlgn="base">
        <a:lnSpc>
          <a:spcPct val="94000"/>
        </a:lnSpc>
        <a:spcBef>
          <a:spcPct val="0"/>
        </a:spcBef>
        <a:spcAft>
          <a:spcPct val="0"/>
        </a:spcAft>
        <a:defRPr sz="2800">
          <a:solidFill>
            <a:schemeClr val="tx1"/>
          </a:solidFill>
          <a:latin typeface="Verdana" pitchFamily="34" charset="0"/>
        </a:defRPr>
      </a:lvl7pPr>
      <a:lvl8pPr marL="1371600" algn="l" rtl="0" fontAlgn="base">
        <a:lnSpc>
          <a:spcPct val="94000"/>
        </a:lnSpc>
        <a:spcBef>
          <a:spcPct val="0"/>
        </a:spcBef>
        <a:spcAft>
          <a:spcPct val="0"/>
        </a:spcAft>
        <a:defRPr sz="2800">
          <a:solidFill>
            <a:schemeClr val="tx1"/>
          </a:solidFill>
          <a:latin typeface="Verdana" pitchFamily="34" charset="0"/>
        </a:defRPr>
      </a:lvl8pPr>
      <a:lvl9pPr marL="1828800" algn="l" rtl="0" fontAlgn="base">
        <a:lnSpc>
          <a:spcPct val="94000"/>
        </a:lnSpc>
        <a:spcBef>
          <a:spcPct val="0"/>
        </a:spcBef>
        <a:spcAft>
          <a:spcPct val="0"/>
        </a:spcAft>
        <a:defRPr sz="2800">
          <a:solidFill>
            <a:schemeClr val="tx1"/>
          </a:solidFill>
          <a:latin typeface="Verdana" pitchFamily="34" charset="0"/>
        </a:defRPr>
      </a:lvl9pPr>
    </p:titleStyle>
    <p:bodyStyle>
      <a:lvl1pPr marL="206375" indent="-206375" algn="l" rtl="0" eaLnBrk="0" fontAlgn="base" hangingPunct="0">
        <a:lnSpc>
          <a:spcPct val="111000"/>
        </a:lnSpc>
        <a:spcBef>
          <a:spcPct val="20000"/>
        </a:spcBef>
        <a:spcAft>
          <a:spcPct val="0"/>
        </a:spcAft>
        <a:buClr>
          <a:srgbClr val="69B8D6"/>
        </a:buClr>
        <a:buChar char="•"/>
        <a:defRPr>
          <a:solidFill>
            <a:schemeClr val="tx1"/>
          </a:solidFill>
          <a:latin typeface="+mn-lt"/>
          <a:ea typeface="+mn-ea"/>
          <a:cs typeface="+mn-cs"/>
        </a:defRPr>
      </a:lvl1pPr>
      <a:lvl2pPr marL="420688" indent="-212725" algn="l" rtl="0" eaLnBrk="0" fontAlgn="base" hangingPunct="0">
        <a:lnSpc>
          <a:spcPts val="2600"/>
        </a:lnSpc>
        <a:spcBef>
          <a:spcPct val="20000"/>
        </a:spcBef>
        <a:spcAft>
          <a:spcPct val="0"/>
        </a:spcAft>
        <a:buClr>
          <a:srgbClr val="69B8D6"/>
        </a:buClr>
        <a:buChar char="•"/>
        <a:defRPr sz="1400">
          <a:solidFill>
            <a:schemeClr val="tx1"/>
          </a:solidFill>
          <a:latin typeface="+mn-lt"/>
        </a:defRPr>
      </a:lvl2pPr>
      <a:lvl3pPr marL="641350" indent="-219075" algn="l" rtl="0" eaLnBrk="0" fontAlgn="base" hangingPunct="0">
        <a:lnSpc>
          <a:spcPct val="125000"/>
        </a:lnSpc>
        <a:spcBef>
          <a:spcPct val="20000"/>
        </a:spcBef>
        <a:spcAft>
          <a:spcPct val="0"/>
        </a:spcAft>
        <a:buClr>
          <a:srgbClr val="69B8D6"/>
        </a:buClr>
        <a:buChar char="•"/>
        <a:defRPr sz="1200">
          <a:solidFill>
            <a:schemeClr val="tx1"/>
          </a:solidFill>
          <a:latin typeface="+mn-lt"/>
        </a:defRPr>
      </a:lvl3pPr>
      <a:lvl4pPr marL="855663" indent="-212725" algn="l" rtl="0" eaLnBrk="0" fontAlgn="base" hangingPunct="0">
        <a:lnSpc>
          <a:spcPct val="119000"/>
        </a:lnSpc>
        <a:spcBef>
          <a:spcPct val="20000"/>
        </a:spcBef>
        <a:spcAft>
          <a:spcPct val="0"/>
        </a:spcAft>
        <a:buClr>
          <a:srgbClr val="69B8D6"/>
        </a:buClr>
        <a:buChar char="•"/>
        <a:defRPr sz="1000">
          <a:solidFill>
            <a:schemeClr val="tx1"/>
          </a:solidFill>
          <a:latin typeface="+mn-lt"/>
        </a:defRPr>
      </a:lvl4pPr>
      <a:lvl5pPr marL="1069975" indent="-212725" algn="l" rtl="0" eaLnBrk="0" fontAlgn="base" hangingPunct="0">
        <a:lnSpc>
          <a:spcPct val="125000"/>
        </a:lnSpc>
        <a:spcBef>
          <a:spcPct val="20000"/>
        </a:spcBef>
        <a:spcAft>
          <a:spcPct val="0"/>
        </a:spcAft>
        <a:buClr>
          <a:srgbClr val="69B8D6"/>
        </a:buClr>
        <a:buChar char="•"/>
        <a:defRPr sz="800">
          <a:solidFill>
            <a:schemeClr val="tx1"/>
          </a:solidFill>
          <a:latin typeface="+mn-lt"/>
        </a:defRPr>
      </a:lvl5pPr>
      <a:lvl6pPr marL="1527175" indent="-212725" algn="l" rtl="0" fontAlgn="base">
        <a:lnSpc>
          <a:spcPct val="125000"/>
        </a:lnSpc>
        <a:spcBef>
          <a:spcPct val="20000"/>
        </a:spcBef>
        <a:spcAft>
          <a:spcPct val="0"/>
        </a:spcAft>
        <a:buClr>
          <a:srgbClr val="69B8D6"/>
        </a:buClr>
        <a:buChar char="•"/>
        <a:defRPr sz="800">
          <a:solidFill>
            <a:schemeClr val="tx1"/>
          </a:solidFill>
          <a:latin typeface="+mn-lt"/>
        </a:defRPr>
      </a:lvl6pPr>
      <a:lvl7pPr marL="1984375" indent="-212725" algn="l" rtl="0" fontAlgn="base">
        <a:lnSpc>
          <a:spcPct val="125000"/>
        </a:lnSpc>
        <a:spcBef>
          <a:spcPct val="20000"/>
        </a:spcBef>
        <a:spcAft>
          <a:spcPct val="0"/>
        </a:spcAft>
        <a:buClr>
          <a:srgbClr val="69B8D6"/>
        </a:buClr>
        <a:buChar char="•"/>
        <a:defRPr sz="800">
          <a:solidFill>
            <a:schemeClr val="tx1"/>
          </a:solidFill>
          <a:latin typeface="+mn-lt"/>
        </a:defRPr>
      </a:lvl7pPr>
      <a:lvl8pPr marL="2441575" indent="-212725" algn="l" rtl="0" fontAlgn="base">
        <a:lnSpc>
          <a:spcPct val="125000"/>
        </a:lnSpc>
        <a:spcBef>
          <a:spcPct val="20000"/>
        </a:spcBef>
        <a:spcAft>
          <a:spcPct val="0"/>
        </a:spcAft>
        <a:buClr>
          <a:srgbClr val="69B8D6"/>
        </a:buClr>
        <a:buChar char="•"/>
        <a:defRPr sz="800">
          <a:solidFill>
            <a:schemeClr val="tx1"/>
          </a:solidFill>
          <a:latin typeface="+mn-lt"/>
        </a:defRPr>
      </a:lvl8pPr>
      <a:lvl9pPr marL="2898775" indent="-212725" algn="l" rtl="0" fontAlgn="base">
        <a:lnSpc>
          <a:spcPct val="125000"/>
        </a:lnSpc>
        <a:spcBef>
          <a:spcPct val="20000"/>
        </a:spcBef>
        <a:spcAft>
          <a:spcPct val="0"/>
        </a:spcAft>
        <a:buClr>
          <a:srgbClr val="69B8D6"/>
        </a:buClr>
        <a:buChar char="•"/>
        <a:defRPr sz="8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sp>
        <p:nvSpPr>
          <p:cNvPr id="1027" name="Rectangle 4"/>
          <p:cNvSpPr>
            <a:spLocks noGrp="1" noChangeArrowheads="1"/>
          </p:cNvSpPr>
          <p:nvPr>
            <p:ph type="title"/>
          </p:nvPr>
        </p:nvSpPr>
        <p:spPr bwMode="auto">
          <a:xfrm>
            <a:off x="766233" y="287342"/>
            <a:ext cx="10653184" cy="15128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1028" name="Rectangle 5"/>
          <p:cNvSpPr>
            <a:spLocks noGrp="1" noChangeArrowheads="1"/>
          </p:cNvSpPr>
          <p:nvPr>
            <p:ph type="body" idx="1"/>
          </p:nvPr>
        </p:nvSpPr>
        <p:spPr bwMode="auto">
          <a:xfrm>
            <a:off x="766233" y="2085975"/>
            <a:ext cx="10653184" cy="3778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29702" name="Rectangle 6"/>
          <p:cNvSpPr>
            <a:spLocks noGrp="1" noChangeArrowheads="1"/>
          </p:cNvSpPr>
          <p:nvPr>
            <p:ph type="dt" sz="half" idx="2"/>
          </p:nvPr>
        </p:nvSpPr>
        <p:spPr bwMode="auto">
          <a:xfrm>
            <a:off x="4692652" y="6548442"/>
            <a:ext cx="3996267"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r>
              <a:rPr lang="en-US" dirty="0" smtClean="0">
                <a:solidFill>
                  <a:prstClr val="black"/>
                </a:solidFill>
              </a:rPr>
              <a:t>10/25/2011</a:t>
            </a:r>
            <a:endParaRPr lang="en-GB" dirty="0">
              <a:solidFill>
                <a:prstClr val="black"/>
              </a:solidFill>
            </a:endParaRPr>
          </a:p>
        </p:txBody>
      </p:sp>
      <p:sp>
        <p:nvSpPr>
          <p:cNvPr id="29704" name="Rectangle 8"/>
          <p:cNvSpPr>
            <a:spLocks noGrp="1" noChangeArrowheads="1"/>
          </p:cNvSpPr>
          <p:nvPr>
            <p:ph type="sldNum" sz="quarter" idx="4"/>
          </p:nvPr>
        </p:nvSpPr>
        <p:spPr bwMode="auto">
          <a:xfrm>
            <a:off x="812800" y="6548442"/>
            <a:ext cx="1439333"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fld id="{1E883611-811B-4CE6-9ACC-5C51EF93CCFD}" type="slidenum">
              <a:rPr lang="en-GB" smtClean="0">
                <a:solidFill>
                  <a:prstClr val="black"/>
                </a:solidFill>
              </a:rPr>
              <a:pPr defTabSz="914323" fontAlgn="base">
                <a:spcBef>
                  <a:spcPct val="0"/>
                </a:spcBef>
                <a:spcAft>
                  <a:spcPct val="0"/>
                </a:spcAft>
                <a:defRPr/>
              </a:pPr>
              <a:t>‹#›</a:t>
            </a:fld>
            <a:endParaRPr lang="en-GB" dirty="0">
              <a:solidFill>
                <a:prstClr val="black"/>
              </a:solidFill>
            </a:endParaRPr>
          </a:p>
        </p:txBody>
      </p:sp>
      <p:sp>
        <p:nvSpPr>
          <p:cNvPr id="29708" name="Text Box 12"/>
          <p:cNvSpPr txBox="1">
            <a:spLocks noChangeArrowheads="1"/>
          </p:cNvSpPr>
          <p:nvPr/>
        </p:nvSpPr>
        <p:spPr bwMode="auto">
          <a:xfrm>
            <a:off x="-2705100" y="6369054"/>
            <a:ext cx="2565400" cy="296363"/>
          </a:xfrm>
          <a:prstGeom prst="rect">
            <a:avLst/>
          </a:prstGeom>
          <a:noFill/>
          <a:ln w="9525" algn="ctr">
            <a:noFill/>
            <a:miter lim="800000"/>
            <a:headEnd/>
            <a:tailEnd/>
          </a:ln>
          <a:effectLst/>
        </p:spPr>
        <p:txBody>
          <a:bodyPr lIns="0" tIns="0" rIns="0" bIns="0">
            <a:spAutoFit/>
          </a:bodyPr>
          <a:lstStyle/>
          <a:p>
            <a:pPr algn="r" defTabSz="914323" fontAlgn="base">
              <a:lnSpc>
                <a:spcPct val="107000"/>
              </a:lnSpc>
              <a:spcBef>
                <a:spcPct val="50000"/>
              </a:spcBef>
              <a:spcAft>
                <a:spcPct val="0"/>
              </a:spcAft>
              <a:defRPr/>
            </a:pPr>
            <a:r>
              <a:rPr lang="en-GB" sz="900" dirty="0">
                <a:solidFill>
                  <a:prstClr val="white"/>
                </a:solidFill>
              </a:rPr>
              <a:t>Insert department name via ‘View/Header and Footer…’</a:t>
            </a:r>
          </a:p>
        </p:txBody>
      </p:sp>
      <p:sp>
        <p:nvSpPr>
          <p:cNvPr id="29709" name="Line 13"/>
          <p:cNvSpPr>
            <a:spLocks noChangeShapeType="1"/>
          </p:cNvSpPr>
          <p:nvPr/>
        </p:nvSpPr>
        <p:spPr bwMode="auto">
          <a:xfrm>
            <a:off x="-632882" y="6704013"/>
            <a:ext cx="480484" cy="0"/>
          </a:xfrm>
          <a:prstGeom prst="line">
            <a:avLst/>
          </a:prstGeom>
          <a:noFill/>
          <a:ln w="9525">
            <a:solidFill>
              <a:schemeClr val="bg1"/>
            </a:solidFill>
            <a:round/>
            <a:headEnd/>
            <a:tailEnd/>
          </a:ln>
          <a:effectLst/>
        </p:spPr>
        <p:txBody>
          <a:bodyPr lIns="0" tIns="0" rIns="0" bIns="0"/>
          <a:lstStyle/>
          <a:p>
            <a:pPr defTabSz="914323" fontAlgn="base">
              <a:lnSpc>
                <a:spcPct val="107000"/>
              </a:lnSpc>
              <a:spcBef>
                <a:spcPct val="0"/>
              </a:spcBef>
              <a:spcAft>
                <a:spcPct val="0"/>
              </a:spcAft>
              <a:defRPr/>
            </a:pPr>
            <a:endParaRPr lang="en-GB" sz="1400" dirty="0">
              <a:solidFill>
                <a:prstClr val="black"/>
              </a:solidFill>
            </a:endParaRPr>
          </a:p>
        </p:txBody>
      </p:sp>
      <p:pic>
        <p:nvPicPr>
          <p:cNvPr id="1034" name="Picture 14" descr="Maersk_Line_Hvid baggrund"/>
          <p:cNvPicPr>
            <a:picLocks noChangeAspect="1" noChangeArrowheads="1"/>
          </p:cNvPicPr>
          <p:nvPr/>
        </p:nvPicPr>
        <p:blipFill>
          <a:blip r:embed="rId16" cstate="print"/>
          <a:srcRect/>
          <a:stretch>
            <a:fillRect/>
          </a:stretch>
        </p:blipFill>
        <p:spPr bwMode="auto">
          <a:xfrm>
            <a:off x="9698569" y="6013451"/>
            <a:ext cx="2493433" cy="844550"/>
          </a:xfrm>
          <a:prstGeom prst="rect">
            <a:avLst/>
          </a:prstGeom>
          <a:noFill/>
          <a:ln w="9525">
            <a:noFill/>
            <a:miter lim="800000"/>
            <a:headEnd/>
            <a:tailEnd/>
          </a:ln>
        </p:spPr>
      </p:pic>
    </p:spTree>
    <p:extLst>
      <p:ext uri="{BB962C8B-B14F-4D97-AF65-F5344CB8AC3E}">
        <p14:creationId xmlns:p14="http://schemas.microsoft.com/office/powerpoint/2010/main" val="3241222873"/>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Lst>
  <p:hf hdr="0" ftr="0"/>
  <p:txStyles>
    <p:titleStyle>
      <a:lvl1pPr algn="l" rtl="0" eaLnBrk="0" fontAlgn="base" hangingPunct="0">
        <a:lnSpc>
          <a:spcPct val="94000"/>
        </a:lnSpc>
        <a:spcBef>
          <a:spcPct val="0"/>
        </a:spcBef>
        <a:spcAft>
          <a:spcPct val="0"/>
        </a:spcAft>
        <a:defRPr sz="2800">
          <a:solidFill>
            <a:schemeClr val="tx1"/>
          </a:solidFill>
          <a:latin typeface="+mj-lt"/>
          <a:ea typeface="+mj-ea"/>
          <a:cs typeface="+mj-cs"/>
        </a:defRPr>
      </a:lvl1pPr>
      <a:lvl2pPr algn="l" rtl="0" eaLnBrk="0" fontAlgn="base" hangingPunct="0">
        <a:lnSpc>
          <a:spcPct val="94000"/>
        </a:lnSpc>
        <a:spcBef>
          <a:spcPct val="0"/>
        </a:spcBef>
        <a:spcAft>
          <a:spcPct val="0"/>
        </a:spcAft>
        <a:defRPr sz="2800">
          <a:solidFill>
            <a:schemeClr val="tx1"/>
          </a:solidFill>
          <a:latin typeface="Verdana" pitchFamily="34" charset="0"/>
        </a:defRPr>
      </a:lvl2pPr>
      <a:lvl3pPr algn="l" rtl="0" eaLnBrk="0" fontAlgn="base" hangingPunct="0">
        <a:lnSpc>
          <a:spcPct val="94000"/>
        </a:lnSpc>
        <a:spcBef>
          <a:spcPct val="0"/>
        </a:spcBef>
        <a:spcAft>
          <a:spcPct val="0"/>
        </a:spcAft>
        <a:defRPr sz="2800">
          <a:solidFill>
            <a:schemeClr val="tx1"/>
          </a:solidFill>
          <a:latin typeface="Verdana" pitchFamily="34" charset="0"/>
        </a:defRPr>
      </a:lvl3pPr>
      <a:lvl4pPr algn="l" rtl="0" eaLnBrk="0" fontAlgn="base" hangingPunct="0">
        <a:lnSpc>
          <a:spcPct val="94000"/>
        </a:lnSpc>
        <a:spcBef>
          <a:spcPct val="0"/>
        </a:spcBef>
        <a:spcAft>
          <a:spcPct val="0"/>
        </a:spcAft>
        <a:defRPr sz="2800">
          <a:solidFill>
            <a:schemeClr val="tx1"/>
          </a:solidFill>
          <a:latin typeface="Verdana" pitchFamily="34" charset="0"/>
        </a:defRPr>
      </a:lvl4pPr>
      <a:lvl5pPr algn="l" rtl="0" eaLnBrk="0" fontAlgn="base" hangingPunct="0">
        <a:lnSpc>
          <a:spcPct val="94000"/>
        </a:lnSpc>
        <a:spcBef>
          <a:spcPct val="0"/>
        </a:spcBef>
        <a:spcAft>
          <a:spcPct val="0"/>
        </a:spcAft>
        <a:defRPr sz="2800">
          <a:solidFill>
            <a:schemeClr val="tx1"/>
          </a:solidFill>
          <a:latin typeface="Verdana" pitchFamily="34" charset="0"/>
        </a:defRPr>
      </a:lvl5pPr>
      <a:lvl6pPr marL="457162" algn="l" rtl="0" fontAlgn="base">
        <a:lnSpc>
          <a:spcPct val="94000"/>
        </a:lnSpc>
        <a:spcBef>
          <a:spcPct val="0"/>
        </a:spcBef>
        <a:spcAft>
          <a:spcPct val="0"/>
        </a:spcAft>
        <a:defRPr sz="2800">
          <a:solidFill>
            <a:schemeClr val="tx1"/>
          </a:solidFill>
          <a:latin typeface="Verdana" pitchFamily="34" charset="0"/>
        </a:defRPr>
      </a:lvl6pPr>
      <a:lvl7pPr marL="914323" algn="l" rtl="0" fontAlgn="base">
        <a:lnSpc>
          <a:spcPct val="94000"/>
        </a:lnSpc>
        <a:spcBef>
          <a:spcPct val="0"/>
        </a:spcBef>
        <a:spcAft>
          <a:spcPct val="0"/>
        </a:spcAft>
        <a:defRPr sz="2800">
          <a:solidFill>
            <a:schemeClr val="tx1"/>
          </a:solidFill>
          <a:latin typeface="Verdana" pitchFamily="34" charset="0"/>
        </a:defRPr>
      </a:lvl7pPr>
      <a:lvl8pPr marL="1371485" algn="l" rtl="0" fontAlgn="base">
        <a:lnSpc>
          <a:spcPct val="94000"/>
        </a:lnSpc>
        <a:spcBef>
          <a:spcPct val="0"/>
        </a:spcBef>
        <a:spcAft>
          <a:spcPct val="0"/>
        </a:spcAft>
        <a:defRPr sz="2800">
          <a:solidFill>
            <a:schemeClr val="tx1"/>
          </a:solidFill>
          <a:latin typeface="Verdana" pitchFamily="34" charset="0"/>
        </a:defRPr>
      </a:lvl8pPr>
      <a:lvl9pPr marL="1828646" algn="l" rtl="0" fontAlgn="base">
        <a:lnSpc>
          <a:spcPct val="94000"/>
        </a:lnSpc>
        <a:spcBef>
          <a:spcPct val="0"/>
        </a:spcBef>
        <a:spcAft>
          <a:spcPct val="0"/>
        </a:spcAft>
        <a:defRPr sz="2800">
          <a:solidFill>
            <a:schemeClr val="tx1"/>
          </a:solidFill>
          <a:latin typeface="Verdana" pitchFamily="34" charset="0"/>
        </a:defRPr>
      </a:lvl9pPr>
    </p:titleStyle>
    <p:bodyStyle>
      <a:lvl1pPr marL="206358" indent="-206358" algn="l" rtl="0" eaLnBrk="0" fontAlgn="base" hangingPunct="0">
        <a:lnSpc>
          <a:spcPct val="111000"/>
        </a:lnSpc>
        <a:spcBef>
          <a:spcPct val="20000"/>
        </a:spcBef>
        <a:spcAft>
          <a:spcPct val="0"/>
        </a:spcAft>
        <a:buClr>
          <a:srgbClr val="69B8D6"/>
        </a:buClr>
        <a:buChar char="•"/>
        <a:defRPr>
          <a:solidFill>
            <a:schemeClr val="tx1"/>
          </a:solidFill>
          <a:latin typeface="+mn-lt"/>
          <a:ea typeface="+mn-ea"/>
          <a:cs typeface="+mn-cs"/>
        </a:defRPr>
      </a:lvl1pPr>
      <a:lvl2pPr marL="420652" indent="-212707" algn="l" rtl="0" eaLnBrk="0" fontAlgn="base" hangingPunct="0">
        <a:lnSpc>
          <a:spcPts val="2600"/>
        </a:lnSpc>
        <a:spcBef>
          <a:spcPct val="20000"/>
        </a:spcBef>
        <a:spcAft>
          <a:spcPct val="0"/>
        </a:spcAft>
        <a:buClr>
          <a:srgbClr val="69B8D6"/>
        </a:buClr>
        <a:buChar char="•"/>
        <a:defRPr sz="1400">
          <a:solidFill>
            <a:schemeClr val="tx1"/>
          </a:solidFill>
          <a:latin typeface="+mn-lt"/>
        </a:defRPr>
      </a:lvl2pPr>
      <a:lvl3pPr marL="641296" indent="-219056" algn="l" rtl="0" eaLnBrk="0" fontAlgn="base" hangingPunct="0">
        <a:lnSpc>
          <a:spcPct val="125000"/>
        </a:lnSpc>
        <a:spcBef>
          <a:spcPct val="20000"/>
        </a:spcBef>
        <a:spcAft>
          <a:spcPct val="0"/>
        </a:spcAft>
        <a:buClr>
          <a:srgbClr val="69B8D6"/>
        </a:buClr>
        <a:buChar char="•"/>
        <a:defRPr sz="1200">
          <a:solidFill>
            <a:schemeClr val="tx1"/>
          </a:solidFill>
          <a:latin typeface="+mn-lt"/>
        </a:defRPr>
      </a:lvl3pPr>
      <a:lvl4pPr marL="855591" indent="-212707" algn="l" rtl="0" eaLnBrk="0" fontAlgn="base" hangingPunct="0">
        <a:lnSpc>
          <a:spcPct val="119000"/>
        </a:lnSpc>
        <a:spcBef>
          <a:spcPct val="20000"/>
        </a:spcBef>
        <a:spcAft>
          <a:spcPct val="0"/>
        </a:spcAft>
        <a:buClr>
          <a:srgbClr val="69B8D6"/>
        </a:buClr>
        <a:buChar char="•"/>
        <a:defRPr sz="1000">
          <a:solidFill>
            <a:schemeClr val="tx1"/>
          </a:solidFill>
          <a:latin typeface="+mn-lt"/>
        </a:defRPr>
      </a:lvl4pPr>
      <a:lvl5pPr marL="1069885" indent="-212707" algn="l" rtl="0" eaLnBrk="0" fontAlgn="base" hangingPunct="0">
        <a:lnSpc>
          <a:spcPct val="125000"/>
        </a:lnSpc>
        <a:spcBef>
          <a:spcPct val="20000"/>
        </a:spcBef>
        <a:spcAft>
          <a:spcPct val="0"/>
        </a:spcAft>
        <a:buClr>
          <a:srgbClr val="69B8D6"/>
        </a:buClr>
        <a:buChar char="•"/>
        <a:defRPr sz="800">
          <a:solidFill>
            <a:schemeClr val="tx1"/>
          </a:solidFill>
          <a:latin typeface="+mn-lt"/>
        </a:defRPr>
      </a:lvl5pPr>
      <a:lvl6pPr marL="1527046" indent="-212707" algn="l" rtl="0" fontAlgn="base">
        <a:lnSpc>
          <a:spcPct val="125000"/>
        </a:lnSpc>
        <a:spcBef>
          <a:spcPct val="20000"/>
        </a:spcBef>
        <a:spcAft>
          <a:spcPct val="0"/>
        </a:spcAft>
        <a:buClr>
          <a:srgbClr val="69B8D6"/>
        </a:buClr>
        <a:buChar char="•"/>
        <a:defRPr sz="800">
          <a:solidFill>
            <a:schemeClr val="tx1"/>
          </a:solidFill>
          <a:latin typeface="+mn-lt"/>
        </a:defRPr>
      </a:lvl6pPr>
      <a:lvl7pPr marL="1984208" indent="-212707" algn="l" rtl="0" fontAlgn="base">
        <a:lnSpc>
          <a:spcPct val="125000"/>
        </a:lnSpc>
        <a:spcBef>
          <a:spcPct val="20000"/>
        </a:spcBef>
        <a:spcAft>
          <a:spcPct val="0"/>
        </a:spcAft>
        <a:buClr>
          <a:srgbClr val="69B8D6"/>
        </a:buClr>
        <a:buChar char="•"/>
        <a:defRPr sz="800">
          <a:solidFill>
            <a:schemeClr val="tx1"/>
          </a:solidFill>
          <a:latin typeface="+mn-lt"/>
        </a:defRPr>
      </a:lvl7pPr>
      <a:lvl8pPr marL="2441370" indent="-212707" algn="l" rtl="0" fontAlgn="base">
        <a:lnSpc>
          <a:spcPct val="125000"/>
        </a:lnSpc>
        <a:spcBef>
          <a:spcPct val="20000"/>
        </a:spcBef>
        <a:spcAft>
          <a:spcPct val="0"/>
        </a:spcAft>
        <a:buClr>
          <a:srgbClr val="69B8D6"/>
        </a:buClr>
        <a:buChar char="•"/>
        <a:defRPr sz="800">
          <a:solidFill>
            <a:schemeClr val="tx1"/>
          </a:solidFill>
          <a:latin typeface="+mn-lt"/>
        </a:defRPr>
      </a:lvl8pPr>
      <a:lvl9pPr marL="2898531" indent="-212707" algn="l" rtl="0" fontAlgn="base">
        <a:lnSpc>
          <a:spcPct val="125000"/>
        </a:lnSpc>
        <a:spcBef>
          <a:spcPct val="20000"/>
        </a:spcBef>
        <a:spcAft>
          <a:spcPct val="0"/>
        </a:spcAft>
        <a:buClr>
          <a:srgbClr val="69B8D6"/>
        </a:buClr>
        <a:buChar char="•"/>
        <a:defRPr sz="800">
          <a:solidFill>
            <a:schemeClr val="tx1"/>
          </a:solidFill>
          <a:latin typeface="+mn-lt"/>
        </a:defRPr>
      </a:lvl9pPr>
    </p:bodyStyle>
    <p:otherStyle>
      <a:defPPr>
        <a:defRPr lang="en-US"/>
      </a:defPPr>
      <a:lvl1pPr marL="0" algn="l" defTabSz="914323" rtl="0" eaLnBrk="1" latinLnBrk="0" hangingPunct="1">
        <a:defRPr sz="1800" kern="1200">
          <a:solidFill>
            <a:schemeClr val="tx1"/>
          </a:solidFill>
          <a:latin typeface="+mn-lt"/>
          <a:ea typeface="+mn-ea"/>
          <a:cs typeface="+mn-cs"/>
        </a:defRPr>
      </a:lvl1pPr>
      <a:lvl2pPr marL="457162" algn="l" defTabSz="914323" rtl="0" eaLnBrk="1" latinLnBrk="0" hangingPunct="1">
        <a:defRPr sz="1800" kern="1200">
          <a:solidFill>
            <a:schemeClr val="tx1"/>
          </a:solidFill>
          <a:latin typeface="+mn-lt"/>
          <a:ea typeface="+mn-ea"/>
          <a:cs typeface="+mn-cs"/>
        </a:defRPr>
      </a:lvl2pPr>
      <a:lvl3pPr marL="914323" algn="l" defTabSz="914323" rtl="0" eaLnBrk="1" latinLnBrk="0" hangingPunct="1">
        <a:defRPr sz="1800" kern="1200">
          <a:solidFill>
            <a:schemeClr val="tx1"/>
          </a:solidFill>
          <a:latin typeface="+mn-lt"/>
          <a:ea typeface="+mn-ea"/>
          <a:cs typeface="+mn-cs"/>
        </a:defRPr>
      </a:lvl3pPr>
      <a:lvl4pPr marL="1371485" algn="l" defTabSz="914323" rtl="0" eaLnBrk="1" latinLnBrk="0" hangingPunct="1">
        <a:defRPr sz="1800" kern="1200">
          <a:solidFill>
            <a:schemeClr val="tx1"/>
          </a:solidFill>
          <a:latin typeface="+mn-lt"/>
          <a:ea typeface="+mn-ea"/>
          <a:cs typeface="+mn-cs"/>
        </a:defRPr>
      </a:lvl4pPr>
      <a:lvl5pPr marL="1828646" algn="l" defTabSz="914323" rtl="0" eaLnBrk="1" latinLnBrk="0" hangingPunct="1">
        <a:defRPr sz="1800" kern="1200">
          <a:solidFill>
            <a:schemeClr val="tx1"/>
          </a:solidFill>
          <a:latin typeface="+mn-lt"/>
          <a:ea typeface="+mn-ea"/>
          <a:cs typeface="+mn-cs"/>
        </a:defRPr>
      </a:lvl5pPr>
      <a:lvl6pPr marL="2285807" algn="l" defTabSz="914323" rtl="0" eaLnBrk="1" latinLnBrk="0" hangingPunct="1">
        <a:defRPr sz="1800" kern="1200">
          <a:solidFill>
            <a:schemeClr val="tx1"/>
          </a:solidFill>
          <a:latin typeface="+mn-lt"/>
          <a:ea typeface="+mn-ea"/>
          <a:cs typeface="+mn-cs"/>
        </a:defRPr>
      </a:lvl6pPr>
      <a:lvl7pPr marL="2742969" algn="l" defTabSz="914323" rtl="0" eaLnBrk="1" latinLnBrk="0" hangingPunct="1">
        <a:defRPr sz="1800" kern="1200">
          <a:solidFill>
            <a:schemeClr val="tx1"/>
          </a:solidFill>
          <a:latin typeface="+mn-lt"/>
          <a:ea typeface="+mn-ea"/>
          <a:cs typeface="+mn-cs"/>
        </a:defRPr>
      </a:lvl7pPr>
      <a:lvl8pPr marL="3200131" algn="l" defTabSz="914323" rtl="0" eaLnBrk="1" latinLnBrk="0" hangingPunct="1">
        <a:defRPr sz="1800" kern="1200">
          <a:solidFill>
            <a:schemeClr val="tx1"/>
          </a:solidFill>
          <a:latin typeface="+mn-lt"/>
          <a:ea typeface="+mn-ea"/>
          <a:cs typeface="+mn-cs"/>
        </a:defRPr>
      </a:lvl8pPr>
      <a:lvl9pPr marL="3657292" algn="l" defTabSz="91432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sp>
        <p:nvSpPr>
          <p:cNvPr id="1027" name="Rectangle 4"/>
          <p:cNvSpPr>
            <a:spLocks noGrp="1" noChangeArrowheads="1"/>
          </p:cNvSpPr>
          <p:nvPr>
            <p:ph type="title"/>
          </p:nvPr>
        </p:nvSpPr>
        <p:spPr bwMode="auto">
          <a:xfrm>
            <a:off x="766233" y="287342"/>
            <a:ext cx="10653184" cy="15128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1028" name="Rectangle 5"/>
          <p:cNvSpPr>
            <a:spLocks noGrp="1" noChangeArrowheads="1"/>
          </p:cNvSpPr>
          <p:nvPr>
            <p:ph type="body" idx="1"/>
          </p:nvPr>
        </p:nvSpPr>
        <p:spPr bwMode="auto">
          <a:xfrm>
            <a:off x="766233" y="2085975"/>
            <a:ext cx="10653184" cy="3778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29702" name="Rectangle 6"/>
          <p:cNvSpPr>
            <a:spLocks noGrp="1" noChangeArrowheads="1"/>
          </p:cNvSpPr>
          <p:nvPr>
            <p:ph type="dt" sz="half" idx="2"/>
          </p:nvPr>
        </p:nvSpPr>
        <p:spPr bwMode="auto">
          <a:xfrm>
            <a:off x="4692652" y="6548442"/>
            <a:ext cx="3996267"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r>
              <a:rPr lang="en-US" dirty="0" smtClean="0">
                <a:solidFill>
                  <a:prstClr val="black"/>
                </a:solidFill>
              </a:rPr>
              <a:t>10/25/2011</a:t>
            </a:r>
            <a:endParaRPr lang="en-GB" dirty="0">
              <a:solidFill>
                <a:prstClr val="black"/>
              </a:solidFill>
            </a:endParaRPr>
          </a:p>
        </p:txBody>
      </p:sp>
      <p:sp>
        <p:nvSpPr>
          <p:cNvPr id="29704" name="Rectangle 8"/>
          <p:cNvSpPr>
            <a:spLocks noGrp="1" noChangeArrowheads="1"/>
          </p:cNvSpPr>
          <p:nvPr>
            <p:ph type="sldNum" sz="quarter" idx="4"/>
          </p:nvPr>
        </p:nvSpPr>
        <p:spPr bwMode="auto">
          <a:xfrm>
            <a:off x="812800" y="6548442"/>
            <a:ext cx="1439333"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fld id="{1E883611-811B-4CE6-9ACC-5C51EF93CCFD}" type="slidenum">
              <a:rPr lang="en-GB" smtClean="0">
                <a:solidFill>
                  <a:prstClr val="black"/>
                </a:solidFill>
              </a:rPr>
              <a:pPr defTabSz="914323" fontAlgn="base">
                <a:spcBef>
                  <a:spcPct val="0"/>
                </a:spcBef>
                <a:spcAft>
                  <a:spcPct val="0"/>
                </a:spcAft>
                <a:defRPr/>
              </a:pPr>
              <a:t>‹#›</a:t>
            </a:fld>
            <a:endParaRPr lang="en-GB" dirty="0">
              <a:solidFill>
                <a:prstClr val="black"/>
              </a:solidFill>
            </a:endParaRPr>
          </a:p>
        </p:txBody>
      </p:sp>
      <p:sp>
        <p:nvSpPr>
          <p:cNvPr id="29708" name="Text Box 12"/>
          <p:cNvSpPr txBox="1">
            <a:spLocks noChangeArrowheads="1"/>
          </p:cNvSpPr>
          <p:nvPr/>
        </p:nvSpPr>
        <p:spPr bwMode="auto">
          <a:xfrm>
            <a:off x="-2705100" y="6369054"/>
            <a:ext cx="2565400" cy="296363"/>
          </a:xfrm>
          <a:prstGeom prst="rect">
            <a:avLst/>
          </a:prstGeom>
          <a:noFill/>
          <a:ln w="9525" algn="ctr">
            <a:noFill/>
            <a:miter lim="800000"/>
            <a:headEnd/>
            <a:tailEnd/>
          </a:ln>
          <a:effectLst/>
        </p:spPr>
        <p:txBody>
          <a:bodyPr lIns="0" tIns="0" rIns="0" bIns="0">
            <a:spAutoFit/>
          </a:bodyPr>
          <a:lstStyle/>
          <a:p>
            <a:pPr algn="r" defTabSz="914323" fontAlgn="base">
              <a:lnSpc>
                <a:spcPct val="107000"/>
              </a:lnSpc>
              <a:spcBef>
                <a:spcPct val="50000"/>
              </a:spcBef>
              <a:spcAft>
                <a:spcPct val="0"/>
              </a:spcAft>
              <a:defRPr/>
            </a:pPr>
            <a:r>
              <a:rPr lang="en-GB" sz="900" dirty="0">
                <a:solidFill>
                  <a:prstClr val="white"/>
                </a:solidFill>
              </a:rPr>
              <a:t>Insert department name via ‘View/Header and Footer…’</a:t>
            </a:r>
          </a:p>
        </p:txBody>
      </p:sp>
      <p:sp>
        <p:nvSpPr>
          <p:cNvPr id="29709" name="Line 13"/>
          <p:cNvSpPr>
            <a:spLocks noChangeShapeType="1"/>
          </p:cNvSpPr>
          <p:nvPr/>
        </p:nvSpPr>
        <p:spPr bwMode="auto">
          <a:xfrm>
            <a:off x="-632882" y="6704013"/>
            <a:ext cx="480484" cy="0"/>
          </a:xfrm>
          <a:prstGeom prst="line">
            <a:avLst/>
          </a:prstGeom>
          <a:noFill/>
          <a:ln w="9525">
            <a:solidFill>
              <a:schemeClr val="bg1"/>
            </a:solidFill>
            <a:round/>
            <a:headEnd/>
            <a:tailEnd/>
          </a:ln>
          <a:effectLst/>
        </p:spPr>
        <p:txBody>
          <a:bodyPr lIns="0" tIns="0" rIns="0" bIns="0"/>
          <a:lstStyle/>
          <a:p>
            <a:pPr defTabSz="914323" fontAlgn="base">
              <a:lnSpc>
                <a:spcPct val="107000"/>
              </a:lnSpc>
              <a:spcBef>
                <a:spcPct val="0"/>
              </a:spcBef>
              <a:spcAft>
                <a:spcPct val="0"/>
              </a:spcAft>
              <a:defRPr/>
            </a:pPr>
            <a:endParaRPr lang="en-GB" sz="1400" dirty="0">
              <a:solidFill>
                <a:prstClr val="black"/>
              </a:solidFill>
            </a:endParaRPr>
          </a:p>
        </p:txBody>
      </p:sp>
      <p:pic>
        <p:nvPicPr>
          <p:cNvPr id="1034" name="Picture 14" descr="Maersk_Line_Hvid baggrund"/>
          <p:cNvPicPr>
            <a:picLocks noChangeAspect="1" noChangeArrowheads="1"/>
          </p:cNvPicPr>
          <p:nvPr/>
        </p:nvPicPr>
        <p:blipFill>
          <a:blip r:embed="rId17" cstate="print"/>
          <a:srcRect/>
          <a:stretch>
            <a:fillRect/>
          </a:stretch>
        </p:blipFill>
        <p:spPr bwMode="auto">
          <a:xfrm>
            <a:off x="9698569" y="6013451"/>
            <a:ext cx="2493433" cy="844550"/>
          </a:xfrm>
          <a:prstGeom prst="rect">
            <a:avLst/>
          </a:prstGeom>
          <a:noFill/>
          <a:ln w="9525">
            <a:noFill/>
            <a:miter lim="800000"/>
            <a:headEnd/>
            <a:tailEnd/>
          </a:ln>
        </p:spPr>
      </p:pic>
    </p:spTree>
    <p:extLst>
      <p:ext uri="{BB962C8B-B14F-4D97-AF65-F5344CB8AC3E}">
        <p14:creationId xmlns:p14="http://schemas.microsoft.com/office/powerpoint/2010/main" val="402079483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Lst>
  <p:hf hdr="0" ftr="0"/>
  <p:txStyles>
    <p:titleStyle>
      <a:lvl1pPr algn="l" rtl="0" eaLnBrk="0" fontAlgn="base" hangingPunct="0">
        <a:lnSpc>
          <a:spcPct val="94000"/>
        </a:lnSpc>
        <a:spcBef>
          <a:spcPct val="0"/>
        </a:spcBef>
        <a:spcAft>
          <a:spcPct val="0"/>
        </a:spcAft>
        <a:defRPr sz="2800">
          <a:solidFill>
            <a:schemeClr val="tx1"/>
          </a:solidFill>
          <a:latin typeface="+mj-lt"/>
          <a:ea typeface="+mj-ea"/>
          <a:cs typeface="+mj-cs"/>
        </a:defRPr>
      </a:lvl1pPr>
      <a:lvl2pPr algn="l" rtl="0" eaLnBrk="0" fontAlgn="base" hangingPunct="0">
        <a:lnSpc>
          <a:spcPct val="94000"/>
        </a:lnSpc>
        <a:spcBef>
          <a:spcPct val="0"/>
        </a:spcBef>
        <a:spcAft>
          <a:spcPct val="0"/>
        </a:spcAft>
        <a:defRPr sz="2800">
          <a:solidFill>
            <a:schemeClr val="tx1"/>
          </a:solidFill>
          <a:latin typeface="Verdana" pitchFamily="34" charset="0"/>
        </a:defRPr>
      </a:lvl2pPr>
      <a:lvl3pPr algn="l" rtl="0" eaLnBrk="0" fontAlgn="base" hangingPunct="0">
        <a:lnSpc>
          <a:spcPct val="94000"/>
        </a:lnSpc>
        <a:spcBef>
          <a:spcPct val="0"/>
        </a:spcBef>
        <a:spcAft>
          <a:spcPct val="0"/>
        </a:spcAft>
        <a:defRPr sz="2800">
          <a:solidFill>
            <a:schemeClr val="tx1"/>
          </a:solidFill>
          <a:latin typeface="Verdana" pitchFamily="34" charset="0"/>
        </a:defRPr>
      </a:lvl3pPr>
      <a:lvl4pPr algn="l" rtl="0" eaLnBrk="0" fontAlgn="base" hangingPunct="0">
        <a:lnSpc>
          <a:spcPct val="94000"/>
        </a:lnSpc>
        <a:spcBef>
          <a:spcPct val="0"/>
        </a:spcBef>
        <a:spcAft>
          <a:spcPct val="0"/>
        </a:spcAft>
        <a:defRPr sz="2800">
          <a:solidFill>
            <a:schemeClr val="tx1"/>
          </a:solidFill>
          <a:latin typeface="Verdana" pitchFamily="34" charset="0"/>
        </a:defRPr>
      </a:lvl4pPr>
      <a:lvl5pPr algn="l" rtl="0" eaLnBrk="0" fontAlgn="base" hangingPunct="0">
        <a:lnSpc>
          <a:spcPct val="94000"/>
        </a:lnSpc>
        <a:spcBef>
          <a:spcPct val="0"/>
        </a:spcBef>
        <a:spcAft>
          <a:spcPct val="0"/>
        </a:spcAft>
        <a:defRPr sz="2800">
          <a:solidFill>
            <a:schemeClr val="tx1"/>
          </a:solidFill>
          <a:latin typeface="Verdana" pitchFamily="34" charset="0"/>
        </a:defRPr>
      </a:lvl5pPr>
      <a:lvl6pPr marL="457162" algn="l" rtl="0" fontAlgn="base">
        <a:lnSpc>
          <a:spcPct val="94000"/>
        </a:lnSpc>
        <a:spcBef>
          <a:spcPct val="0"/>
        </a:spcBef>
        <a:spcAft>
          <a:spcPct val="0"/>
        </a:spcAft>
        <a:defRPr sz="2800">
          <a:solidFill>
            <a:schemeClr val="tx1"/>
          </a:solidFill>
          <a:latin typeface="Verdana" pitchFamily="34" charset="0"/>
        </a:defRPr>
      </a:lvl6pPr>
      <a:lvl7pPr marL="914323" algn="l" rtl="0" fontAlgn="base">
        <a:lnSpc>
          <a:spcPct val="94000"/>
        </a:lnSpc>
        <a:spcBef>
          <a:spcPct val="0"/>
        </a:spcBef>
        <a:spcAft>
          <a:spcPct val="0"/>
        </a:spcAft>
        <a:defRPr sz="2800">
          <a:solidFill>
            <a:schemeClr val="tx1"/>
          </a:solidFill>
          <a:latin typeface="Verdana" pitchFamily="34" charset="0"/>
        </a:defRPr>
      </a:lvl7pPr>
      <a:lvl8pPr marL="1371485" algn="l" rtl="0" fontAlgn="base">
        <a:lnSpc>
          <a:spcPct val="94000"/>
        </a:lnSpc>
        <a:spcBef>
          <a:spcPct val="0"/>
        </a:spcBef>
        <a:spcAft>
          <a:spcPct val="0"/>
        </a:spcAft>
        <a:defRPr sz="2800">
          <a:solidFill>
            <a:schemeClr val="tx1"/>
          </a:solidFill>
          <a:latin typeface="Verdana" pitchFamily="34" charset="0"/>
        </a:defRPr>
      </a:lvl8pPr>
      <a:lvl9pPr marL="1828646" algn="l" rtl="0" fontAlgn="base">
        <a:lnSpc>
          <a:spcPct val="94000"/>
        </a:lnSpc>
        <a:spcBef>
          <a:spcPct val="0"/>
        </a:spcBef>
        <a:spcAft>
          <a:spcPct val="0"/>
        </a:spcAft>
        <a:defRPr sz="2800">
          <a:solidFill>
            <a:schemeClr val="tx1"/>
          </a:solidFill>
          <a:latin typeface="Verdana" pitchFamily="34" charset="0"/>
        </a:defRPr>
      </a:lvl9pPr>
    </p:titleStyle>
    <p:bodyStyle>
      <a:lvl1pPr marL="206358" indent="-206358" algn="l" rtl="0" eaLnBrk="0" fontAlgn="base" hangingPunct="0">
        <a:lnSpc>
          <a:spcPct val="111000"/>
        </a:lnSpc>
        <a:spcBef>
          <a:spcPct val="20000"/>
        </a:spcBef>
        <a:spcAft>
          <a:spcPct val="0"/>
        </a:spcAft>
        <a:buClr>
          <a:srgbClr val="69B8D6"/>
        </a:buClr>
        <a:buChar char="•"/>
        <a:defRPr>
          <a:solidFill>
            <a:schemeClr val="tx1"/>
          </a:solidFill>
          <a:latin typeface="+mn-lt"/>
          <a:ea typeface="+mn-ea"/>
          <a:cs typeface="+mn-cs"/>
        </a:defRPr>
      </a:lvl1pPr>
      <a:lvl2pPr marL="420652" indent="-212707" algn="l" rtl="0" eaLnBrk="0" fontAlgn="base" hangingPunct="0">
        <a:lnSpc>
          <a:spcPts val="2600"/>
        </a:lnSpc>
        <a:spcBef>
          <a:spcPct val="20000"/>
        </a:spcBef>
        <a:spcAft>
          <a:spcPct val="0"/>
        </a:spcAft>
        <a:buClr>
          <a:srgbClr val="69B8D6"/>
        </a:buClr>
        <a:buChar char="•"/>
        <a:defRPr sz="1400">
          <a:solidFill>
            <a:schemeClr val="tx1"/>
          </a:solidFill>
          <a:latin typeface="+mn-lt"/>
        </a:defRPr>
      </a:lvl2pPr>
      <a:lvl3pPr marL="641296" indent="-219056" algn="l" rtl="0" eaLnBrk="0" fontAlgn="base" hangingPunct="0">
        <a:lnSpc>
          <a:spcPct val="125000"/>
        </a:lnSpc>
        <a:spcBef>
          <a:spcPct val="20000"/>
        </a:spcBef>
        <a:spcAft>
          <a:spcPct val="0"/>
        </a:spcAft>
        <a:buClr>
          <a:srgbClr val="69B8D6"/>
        </a:buClr>
        <a:buChar char="•"/>
        <a:defRPr sz="1200">
          <a:solidFill>
            <a:schemeClr val="tx1"/>
          </a:solidFill>
          <a:latin typeface="+mn-lt"/>
        </a:defRPr>
      </a:lvl3pPr>
      <a:lvl4pPr marL="855591" indent="-212707" algn="l" rtl="0" eaLnBrk="0" fontAlgn="base" hangingPunct="0">
        <a:lnSpc>
          <a:spcPct val="119000"/>
        </a:lnSpc>
        <a:spcBef>
          <a:spcPct val="20000"/>
        </a:spcBef>
        <a:spcAft>
          <a:spcPct val="0"/>
        </a:spcAft>
        <a:buClr>
          <a:srgbClr val="69B8D6"/>
        </a:buClr>
        <a:buChar char="•"/>
        <a:defRPr sz="1000">
          <a:solidFill>
            <a:schemeClr val="tx1"/>
          </a:solidFill>
          <a:latin typeface="+mn-lt"/>
        </a:defRPr>
      </a:lvl4pPr>
      <a:lvl5pPr marL="1069885" indent="-212707" algn="l" rtl="0" eaLnBrk="0" fontAlgn="base" hangingPunct="0">
        <a:lnSpc>
          <a:spcPct val="125000"/>
        </a:lnSpc>
        <a:spcBef>
          <a:spcPct val="20000"/>
        </a:spcBef>
        <a:spcAft>
          <a:spcPct val="0"/>
        </a:spcAft>
        <a:buClr>
          <a:srgbClr val="69B8D6"/>
        </a:buClr>
        <a:buChar char="•"/>
        <a:defRPr sz="800">
          <a:solidFill>
            <a:schemeClr val="tx1"/>
          </a:solidFill>
          <a:latin typeface="+mn-lt"/>
        </a:defRPr>
      </a:lvl5pPr>
      <a:lvl6pPr marL="1527046" indent="-212707" algn="l" rtl="0" fontAlgn="base">
        <a:lnSpc>
          <a:spcPct val="125000"/>
        </a:lnSpc>
        <a:spcBef>
          <a:spcPct val="20000"/>
        </a:spcBef>
        <a:spcAft>
          <a:spcPct val="0"/>
        </a:spcAft>
        <a:buClr>
          <a:srgbClr val="69B8D6"/>
        </a:buClr>
        <a:buChar char="•"/>
        <a:defRPr sz="800">
          <a:solidFill>
            <a:schemeClr val="tx1"/>
          </a:solidFill>
          <a:latin typeface="+mn-lt"/>
        </a:defRPr>
      </a:lvl6pPr>
      <a:lvl7pPr marL="1984208" indent="-212707" algn="l" rtl="0" fontAlgn="base">
        <a:lnSpc>
          <a:spcPct val="125000"/>
        </a:lnSpc>
        <a:spcBef>
          <a:spcPct val="20000"/>
        </a:spcBef>
        <a:spcAft>
          <a:spcPct val="0"/>
        </a:spcAft>
        <a:buClr>
          <a:srgbClr val="69B8D6"/>
        </a:buClr>
        <a:buChar char="•"/>
        <a:defRPr sz="800">
          <a:solidFill>
            <a:schemeClr val="tx1"/>
          </a:solidFill>
          <a:latin typeface="+mn-lt"/>
        </a:defRPr>
      </a:lvl7pPr>
      <a:lvl8pPr marL="2441370" indent="-212707" algn="l" rtl="0" fontAlgn="base">
        <a:lnSpc>
          <a:spcPct val="125000"/>
        </a:lnSpc>
        <a:spcBef>
          <a:spcPct val="20000"/>
        </a:spcBef>
        <a:spcAft>
          <a:spcPct val="0"/>
        </a:spcAft>
        <a:buClr>
          <a:srgbClr val="69B8D6"/>
        </a:buClr>
        <a:buChar char="•"/>
        <a:defRPr sz="800">
          <a:solidFill>
            <a:schemeClr val="tx1"/>
          </a:solidFill>
          <a:latin typeface="+mn-lt"/>
        </a:defRPr>
      </a:lvl8pPr>
      <a:lvl9pPr marL="2898531" indent="-212707" algn="l" rtl="0" fontAlgn="base">
        <a:lnSpc>
          <a:spcPct val="125000"/>
        </a:lnSpc>
        <a:spcBef>
          <a:spcPct val="20000"/>
        </a:spcBef>
        <a:spcAft>
          <a:spcPct val="0"/>
        </a:spcAft>
        <a:buClr>
          <a:srgbClr val="69B8D6"/>
        </a:buClr>
        <a:buChar char="•"/>
        <a:defRPr sz="800">
          <a:solidFill>
            <a:schemeClr val="tx1"/>
          </a:solidFill>
          <a:latin typeface="+mn-lt"/>
        </a:defRPr>
      </a:lvl9pPr>
    </p:bodyStyle>
    <p:otherStyle>
      <a:defPPr>
        <a:defRPr lang="en-US"/>
      </a:defPPr>
      <a:lvl1pPr marL="0" algn="l" defTabSz="914323" rtl="0" eaLnBrk="1" latinLnBrk="0" hangingPunct="1">
        <a:defRPr sz="1800" kern="1200">
          <a:solidFill>
            <a:schemeClr val="tx1"/>
          </a:solidFill>
          <a:latin typeface="+mn-lt"/>
          <a:ea typeface="+mn-ea"/>
          <a:cs typeface="+mn-cs"/>
        </a:defRPr>
      </a:lvl1pPr>
      <a:lvl2pPr marL="457162" algn="l" defTabSz="914323" rtl="0" eaLnBrk="1" latinLnBrk="0" hangingPunct="1">
        <a:defRPr sz="1800" kern="1200">
          <a:solidFill>
            <a:schemeClr val="tx1"/>
          </a:solidFill>
          <a:latin typeface="+mn-lt"/>
          <a:ea typeface="+mn-ea"/>
          <a:cs typeface="+mn-cs"/>
        </a:defRPr>
      </a:lvl2pPr>
      <a:lvl3pPr marL="914323" algn="l" defTabSz="914323" rtl="0" eaLnBrk="1" latinLnBrk="0" hangingPunct="1">
        <a:defRPr sz="1800" kern="1200">
          <a:solidFill>
            <a:schemeClr val="tx1"/>
          </a:solidFill>
          <a:latin typeface="+mn-lt"/>
          <a:ea typeface="+mn-ea"/>
          <a:cs typeface="+mn-cs"/>
        </a:defRPr>
      </a:lvl3pPr>
      <a:lvl4pPr marL="1371485" algn="l" defTabSz="914323" rtl="0" eaLnBrk="1" latinLnBrk="0" hangingPunct="1">
        <a:defRPr sz="1800" kern="1200">
          <a:solidFill>
            <a:schemeClr val="tx1"/>
          </a:solidFill>
          <a:latin typeface="+mn-lt"/>
          <a:ea typeface="+mn-ea"/>
          <a:cs typeface="+mn-cs"/>
        </a:defRPr>
      </a:lvl4pPr>
      <a:lvl5pPr marL="1828646" algn="l" defTabSz="914323" rtl="0" eaLnBrk="1" latinLnBrk="0" hangingPunct="1">
        <a:defRPr sz="1800" kern="1200">
          <a:solidFill>
            <a:schemeClr val="tx1"/>
          </a:solidFill>
          <a:latin typeface="+mn-lt"/>
          <a:ea typeface="+mn-ea"/>
          <a:cs typeface="+mn-cs"/>
        </a:defRPr>
      </a:lvl5pPr>
      <a:lvl6pPr marL="2285807" algn="l" defTabSz="914323" rtl="0" eaLnBrk="1" latinLnBrk="0" hangingPunct="1">
        <a:defRPr sz="1800" kern="1200">
          <a:solidFill>
            <a:schemeClr val="tx1"/>
          </a:solidFill>
          <a:latin typeface="+mn-lt"/>
          <a:ea typeface="+mn-ea"/>
          <a:cs typeface="+mn-cs"/>
        </a:defRPr>
      </a:lvl6pPr>
      <a:lvl7pPr marL="2742969" algn="l" defTabSz="914323" rtl="0" eaLnBrk="1" latinLnBrk="0" hangingPunct="1">
        <a:defRPr sz="1800" kern="1200">
          <a:solidFill>
            <a:schemeClr val="tx1"/>
          </a:solidFill>
          <a:latin typeface="+mn-lt"/>
          <a:ea typeface="+mn-ea"/>
          <a:cs typeface="+mn-cs"/>
        </a:defRPr>
      </a:lvl7pPr>
      <a:lvl8pPr marL="3200131" algn="l" defTabSz="914323" rtl="0" eaLnBrk="1" latinLnBrk="0" hangingPunct="1">
        <a:defRPr sz="1800" kern="1200">
          <a:solidFill>
            <a:schemeClr val="tx1"/>
          </a:solidFill>
          <a:latin typeface="+mn-lt"/>
          <a:ea typeface="+mn-ea"/>
          <a:cs typeface="+mn-cs"/>
        </a:defRPr>
      </a:lvl8pPr>
      <a:lvl9pPr marL="3657292" algn="l" defTabSz="91432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92620"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sp>
        <p:nvSpPr>
          <p:cNvPr id="1027" name="Rectangle 4"/>
          <p:cNvSpPr>
            <a:spLocks noGrp="1" noChangeArrowheads="1"/>
          </p:cNvSpPr>
          <p:nvPr>
            <p:ph type="title"/>
          </p:nvPr>
        </p:nvSpPr>
        <p:spPr bwMode="auto">
          <a:xfrm>
            <a:off x="766233" y="287340"/>
            <a:ext cx="10653184" cy="15128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1028" name="Rectangle 5"/>
          <p:cNvSpPr>
            <a:spLocks noGrp="1" noChangeArrowheads="1"/>
          </p:cNvSpPr>
          <p:nvPr>
            <p:ph type="body" idx="1"/>
          </p:nvPr>
        </p:nvSpPr>
        <p:spPr bwMode="auto">
          <a:xfrm>
            <a:off x="766233" y="2085975"/>
            <a:ext cx="10653184" cy="3778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29702" name="Rectangle 6"/>
          <p:cNvSpPr>
            <a:spLocks noGrp="1" noChangeArrowheads="1"/>
          </p:cNvSpPr>
          <p:nvPr>
            <p:ph type="dt" sz="half" idx="2"/>
          </p:nvPr>
        </p:nvSpPr>
        <p:spPr bwMode="auto">
          <a:xfrm>
            <a:off x="4692651" y="6548440"/>
            <a:ext cx="3996267"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fld id="{732C7BBC-E005-4948-BEEB-8259A8CE157C}" type="datetime1">
              <a:rPr lang="en-GB" smtClean="0">
                <a:solidFill>
                  <a:prstClr val="black"/>
                </a:solidFill>
              </a:rPr>
              <a:pPr defTabSz="914323" fontAlgn="base">
                <a:spcBef>
                  <a:spcPct val="0"/>
                </a:spcBef>
                <a:spcAft>
                  <a:spcPct val="0"/>
                </a:spcAft>
                <a:defRPr/>
              </a:pPr>
              <a:t>09/12/2016</a:t>
            </a:fld>
            <a:endParaRPr lang="en-GB" dirty="0">
              <a:solidFill>
                <a:prstClr val="black"/>
              </a:solidFill>
            </a:endParaRPr>
          </a:p>
        </p:txBody>
      </p:sp>
      <p:sp>
        <p:nvSpPr>
          <p:cNvPr id="29704" name="Rectangle 8"/>
          <p:cNvSpPr>
            <a:spLocks noGrp="1" noChangeArrowheads="1"/>
          </p:cNvSpPr>
          <p:nvPr>
            <p:ph type="sldNum" sz="quarter" idx="4"/>
          </p:nvPr>
        </p:nvSpPr>
        <p:spPr bwMode="auto">
          <a:xfrm>
            <a:off x="812800" y="6548440"/>
            <a:ext cx="1439333"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fld id="{1E883611-811B-4CE6-9ACC-5C51EF93CCFD}" type="slidenum">
              <a:rPr lang="en-GB" smtClean="0">
                <a:solidFill>
                  <a:prstClr val="black"/>
                </a:solidFill>
              </a:rPr>
              <a:pPr defTabSz="914323" fontAlgn="base">
                <a:spcBef>
                  <a:spcPct val="0"/>
                </a:spcBef>
                <a:spcAft>
                  <a:spcPct val="0"/>
                </a:spcAft>
                <a:defRPr/>
              </a:pPr>
              <a:t>‹#›</a:t>
            </a:fld>
            <a:endParaRPr lang="en-GB" dirty="0">
              <a:solidFill>
                <a:prstClr val="black"/>
              </a:solidFill>
            </a:endParaRPr>
          </a:p>
        </p:txBody>
      </p:sp>
      <p:sp>
        <p:nvSpPr>
          <p:cNvPr id="29708" name="Text Box 12"/>
          <p:cNvSpPr txBox="1">
            <a:spLocks noChangeArrowheads="1"/>
          </p:cNvSpPr>
          <p:nvPr/>
        </p:nvSpPr>
        <p:spPr bwMode="auto">
          <a:xfrm>
            <a:off x="-2705100" y="6369052"/>
            <a:ext cx="2565400" cy="296363"/>
          </a:xfrm>
          <a:prstGeom prst="rect">
            <a:avLst/>
          </a:prstGeom>
          <a:noFill/>
          <a:ln w="9525" algn="ctr">
            <a:noFill/>
            <a:miter lim="800000"/>
            <a:headEnd/>
            <a:tailEnd/>
          </a:ln>
          <a:effectLst/>
        </p:spPr>
        <p:txBody>
          <a:bodyPr lIns="0" tIns="0" rIns="0" bIns="0">
            <a:spAutoFit/>
          </a:bodyPr>
          <a:lstStyle/>
          <a:p>
            <a:pPr algn="r" defTabSz="914323" fontAlgn="base">
              <a:lnSpc>
                <a:spcPct val="107000"/>
              </a:lnSpc>
              <a:spcBef>
                <a:spcPct val="50000"/>
              </a:spcBef>
              <a:spcAft>
                <a:spcPct val="0"/>
              </a:spcAft>
              <a:defRPr/>
            </a:pPr>
            <a:r>
              <a:rPr lang="en-GB" sz="900" dirty="0">
                <a:solidFill>
                  <a:prstClr val="white"/>
                </a:solidFill>
              </a:rPr>
              <a:t>Insert department name via ‘View/Header and Footer…’</a:t>
            </a:r>
          </a:p>
        </p:txBody>
      </p:sp>
      <p:sp>
        <p:nvSpPr>
          <p:cNvPr id="29709" name="Line 13"/>
          <p:cNvSpPr>
            <a:spLocks noChangeShapeType="1"/>
          </p:cNvSpPr>
          <p:nvPr/>
        </p:nvSpPr>
        <p:spPr bwMode="auto">
          <a:xfrm>
            <a:off x="-632882" y="6704013"/>
            <a:ext cx="480484" cy="0"/>
          </a:xfrm>
          <a:prstGeom prst="line">
            <a:avLst/>
          </a:prstGeom>
          <a:noFill/>
          <a:ln w="9525">
            <a:solidFill>
              <a:schemeClr val="bg1"/>
            </a:solidFill>
            <a:round/>
            <a:headEnd/>
            <a:tailEnd/>
          </a:ln>
          <a:effectLst/>
        </p:spPr>
        <p:txBody>
          <a:bodyPr lIns="0" tIns="0" rIns="0" bIns="0"/>
          <a:lstStyle/>
          <a:p>
            <a:pPr defTabSz="914323" fontAlgn="base">
              <a:lnSpc>
                <a:spcPct val="107000"/>
              </a:lnSpc>
              <a:spcBef>
                <a:spcPct val="0"/>
              </a:spcBef>
              <a:spcAft>
                <a:spcPct val="0"/>
              </a:spcAft>
              <a:defRPr/>
            </a:pPr>
            <a:endParaRPr lang="en-GB" sz="1400" dirty="0">
              <a:solidFill>
                <a:prstClr val="black"/>
              </a:solidFill>
            </a:endParaRPr>
          </a:p>
        </p:txBody>
      </p:sp>
      <p:pic>
        <p:nvPicPr>
          <p:cNvPr id="1034" name="Picture 14" descr="Maersk_Line_Hvid baggrund"/>
          <p:cNvPicPr>
            <a:picLocks noChangeAspect="1" noChangeArrowheads="1"/>
          </p:cNvPicPr>
          <p:nvPr/>
        </p:nvPicPr>
        <p:blipFill>
          <a:blip r:embed="rId13" cstate="print"/>
          <a:srcRect/>
          <a:stretch>
            <a:fillRect/>
          </a:stretch>
        </p:blipFill>
        <p:spPr bwMode="auto">
          <a:xfrm>
            <a:off x="9698568" y="6013451"/>
            <a:ext cx="2493433" cy="844550"/>
          </a:xfrm>
          <a:prstGeom prst="rect">
            <a:avLst/>
          </a:prstGeom>
          <a:noFill/>
          <a:ln w="9525">
            <a:noFill/>
            <a:miter lim="800000"/>
            <a:headEnd/>
            <a:tailEnd/>
          </a:ln>
        </p:spPr>
      </p:pic>
    </p:spTree>
    <p:extLst>
      <p:ext uri="{BB962C8B-B14F-4D97-AF65-F5344CB8AC3E}">
        <p14:creationId xmlns:p14="http://schemas.microsoft.com/office/powerpoint/2010/main" val="364049951"/>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hf hdr="0" dt="0"/>
  <p:txStyles>
    <p:titleStyle>
      <a:lvl1pPr algn="l" rtl="0" eaLnBrk="0" fontAlgn="base" hangingPunct="0">
        <a:lnSpc>
          <a:spcPct val="94000"/>
        </a:lnSpc>
        <a:spcBef>
          <a:spcPct val="0"/>
        </a:spcBef>
        <a:spcAft>
          <a:spcPct val="0"/>
        </a:spcAft>
        <a:defRPr sz="2800">
          <a:solidFill>
            <a:schemeClr val="tx1"/>
          </a:solidFill>
          <a:latin typeface="+mj-lt"/>
          <a:ea typeface="+mj-ea"/>
          <a:cs typeface="+mj-cs"/>
        </a:defRPr>
      </a:lvl1pPr>
      <a:lvl2pPr algn="l" rtl="0" eaLnBrk="0" fontAlgn="base" hangingPunct="0">
        <a:lnSpc>
          <a:spcPct val="94000"/>
        </a:lnSpc>
        <a:spcBef>
          <a:spcPct val="0"/>
        </a:spcBef>
        <a:spcAft>
          <a:spcPct val="0"/>
        </a:spcAft>
        <a:defRPr sz="2800">
          <a:solidFill>
            <a:schemeClr val="tx1"/>
          </a:solidFill>
          <a:latin typeface="Verdana" pitchFamily="34" charset="0"/>
        </a:defRPr>
      </a:lvl2pPr>
      <a:lvl3pPr algn="l" rtl="0" eaLnBrk="0" fontAlgn="base" hangingPunct="0">
        <a:lnSpc>
          <a:spcPct val="94000"/>
        </a:lnSpc>
        <a:spcBef>
          <a:spcPct val="0"/>
        </a:spcBef>
        <a:spcAft>
          <a:spcPct val="0"/>
        </a:spcAft>
        <a:defRPr sz="2800">
          <a:solidFill>
            <a:schemeClr val="tx1"/>
          </a:solidFill>
          <a:latin typeface="Verdana" pitchFamily="34" charset="0"/>
        </a:defRPr>
      </a:lvl3pPr>
      <a:lvl4pPr algn="l" rtl="0" eaLnBrk="0" fontAlgn="base" hangingPunct="0">
        <a:lnSpc>
          <a:spcPct val="94000"/>
        </a:lnSpc>
        <a:spcBef>
          <a:spcPct val="0"/>
        </a:spcBef>
        <a:spcAft>
          <a:spcPct val="0"/>
        </a:spcAft>
        <a:defRPr sz="2800">
          <a:solidFill>
            <a:schemeClr val="tx1"/>
          </a:solidFill>
          <a:latin typeface="Verdana" pitchFamily="34" charset="0"/>
        </a:defRPr>
      </a:lvl4pPr>
      <a:lvl5pPr algn="l" rtl="0" eaLnBrk="0" fontAlgn="base" hangingPunct="0">
        <a:lnSpc>
          <a:spcPct val="94000"/>
        </a:lnSpc>
        <a:spcBef>
          <a:spcPct val="0"/>
        </a:spcBef>
        <a:spcAft>
          <a:spcPct val="0"/>
        </a:spcAft>
        <a:defRPr sz="2800">
          <a:solidFill>
            <a:schemeClr val="tx1"/>
          </a:solidFill>
          <a:latin typeface="Verdana" pitchFamily="34" charset="0"/>
        </a:defRPr>
      </a:lvl5pPr>
      <a:lvl6pPr marL="457162" algn="l" rtl="0" fontAlgn="base">
        <a:lnSpc>
          <a:spcPct val="94000"/>
        </a:lnSpc>
        <a:spcBef>
          <a:spcPct val="0"/>
        </a:spcBef>
        <a:spcAft>
          <a:spcPct val="0"/>
        </a:spcAft>
        <a:defRPr sz="2800">
          <a:solidFill>
            <a:schemeClr val="tx1"/>
          </a:solidFill>
          <a:latin typeface="Verdana" pitchFamily="34" charset="0"/>
        </a:defRPr>
      </a:lvl6pPr>
      <a:lvl7pPr marL="914323" algn="l" rtl="0" fontAlgn="base">
        <a:lnSpc>
          <a:spcPct val="94000"/>
        </a:lnSpc>
        <a:spcBef>
          <a:spcPct val="0"/>
        </a:spcBef>
        <a:spcAft>
          <a:spcPct val="0"/>
        </a:spcAft>
        <a:defRPr sz="2800">
          <a:solidFill>
            <a:schemeClr val="tx1"/>
          </a:solidFill>
          <a:latin typeface="Verdana" pitchFamily="34" charset="0"/>
        </a:defRPr>
      </a:lvl7pPr>
      <a:lvl8pPr marL="1371485" algn="l" rtl="0" fontAlgn="base">
        <a:lnSpc>
          <a:spcPct val="94000"/>
        </a:lnSpc>
        <a:spcBef>
          <a:spcPct val="0"/>
        </a:spcBef>
        <a:spcAft>
          <a:spcPct val="0"/>
        </a:spcAft>
        <a:defRPr sz="2800">
          <a:solidFill>
            <a:schemeClr val="tx1"/>
          </a:solidFill>
          <a:latin typeface="Verdana" pitchFamily="34" charset="0"/>
        </a:defRPr>
      </a:lvl8pPr>
      <a:lvl9pPr marL="1828646" algn="l" rtl="0" fontAlgn="base">
        <a:lnSpc>
          <a:spcPct val="94000"/>
        </a:lnSpc>
        <a:spcBef>
          <a:spcPct val="0"/>
        </a:spcBef>
        <a:spcAft>
          <a:spcPct val="0"/>
        </a:spcAft>
        <a:defRPr sz="2800">
          <a:solidFill>
            <a:schemeClr val="tx1"/>
          </a:solidFill>
          <a:latin typeface="Verdana" pitchFamily="34" charset="0"/>
        </a:defRPr>
      </a:lvl9pPr>
    </p:titleStyle>
    <p:bodyStyle>
      <a:lvl1pPr marL="206358" indent="-206358" algn="l" rtl="0" eaLnBrk="0" fontAlgn="base" hangingPunct="0">
        <a:lnSpc>
          <a:spcPct val="111000"/>
        </a:lnSpc>
        <a:spcBef>
          <a:spcPct val="20000"/>
        </a:spcBef>
        <a:spcAft>
          <a:spcPct val="0"/>
        </a:spcAft>
        <a:buClr>
          <a:srgbClr val="69B8D6"/>
        </a:buClr>
        <a:buChar char="•"/>
        <a:defRPr>
          <a:solidFill>
            <a:schemeClr val="tx1"/>
          </a:solidFill>
          <a:latin typeface="+mn-lt"/>
          <a:ea typeface="+mn-ea"/>
          <a:cs typeface="+mn-cs"/>
        </a:defRPr>
      </a:lvl1pPr>
      <a:lvl2pPr marL="420652" indent="-212707" algn="l" rtl="0" eaLnBrk="0" fontAlgn="base" hangingPunct="0">
        <a:lnSpc>
          <a:spcPts val="2600"/>
        </a:lnSpc>
        <a:spcBef>
          <a:spcPct val="20000"/>
        </a:spcBef>
        <a:spcAft>
          <a:spcPct val="0"/>
        </a:spcAft>
        <a:buClr>
          <a:srgbClr val="69B8D6"/>
        </a:buClr>
        <a:buChar char="•"/>
        <a:defRPr sz="1400">
          <a:solidFill>
            <a:schemeClr val="tx1"/>
          </a:solidFill>
          <a:latin typeface="+mn-lt"/>
        </a:defRPr>
      </a:lvl2pPr>
      <a:lvl3pPr marL="641296" indent="-219056" algn="l" rtl="0" eaLnBrk="0" fontAlgn="base" hangingPunct="0">
        <a:lnSpc>
          <a:spcPct val="125000"/>
        </a:lnSpc>
        <a:spcBef>
          <a:spcPct val="20000"/>
        </a:spcBef>
        <a:spcAft>
          <a:spcPct val="0"/>
        </a:spcAft>
        <a:buClr>
          <a:srgbClr val="69B8D6"/>
        </a:buClr>
        <a:buChar char="•"/>
        <a:defRPr sz="1200">
          <a:solidFill>
            <a:schemeClr val="tx1"/>
          </a:solidFill>
          <a:latin typeface="+mn-lt"/>
        </a:defRPr>
      </a:lvl3pPr>
      <a:lvl4pPr marL="855591" indent="-212707" algn="l" rtl="0" eaLnBrk="0" fontAlgn="base" hangingPunct="0">
        <a:lnSpc>
          <a:spcPct val="119000"/>
        </a:lnSpc>
        <a:spcBef>
          <a:spcPct val="20000"/>
        </a:spcBef>
        <a:spcAft>
          <a:spcPct val="0"/>
        </a:spcAft>
        <a:buClr>
          <a:srgbClr val="69B8D6"/>
        </a:buClr>
        <a:buChar char="•"/>
        <a:defRPr sz="1000">
          <a:solidFill>
            <a:schemeClr val="tx1"/>
          </a:solidFill>
          <a:latin typeface="+mn-lt"/>
        </a:defRPr>
      </a:lvl4pPr>
      <a:lvl5pPr marL="1069885" indent="-212707" algn="l" rtl="0" eaLnBrk="0" fontAlgn="base" hangingPunct="0">
        <a:lnSpc>
          <a:spcPct val="125000"/>
        </a:lnSpc>
        <a:spcBef>
          <a:spcPct val="20000"/>
        </a:spcBef>
        <a:spcAft>
          <a:spcPct val="0"/>
        </a:spcAft>
        <a:buClr>
          <a:srgbClr val="69B8D6"/>
        </a:buClr>
        <a:buChar char="•"/>
        <a:defRPr sz="800">
          <a:solidFill>
            <a:schemeClr val="tx1"/>
          </a:solidFill>
          <a:latin typeface="+mn-lt"/>
        </a:defRPr>
      </a:lvl5pPr>
      <a:lvl6pPr marL="1527046" indent="-212707" algn="l" rtl="0" fontAlgn="base">
        <a:lnSpc>
          <a:spcPct val="125000"/>
        </a:lnSpc>
        <a:spcBef>
          <a:spcPct val="20000"/>
        </a:spcBef>
        <a:spcAft>
          <a:spcPct val="0"/>
        </a:spcAft>
        <a:buClr>
          <a:srgbClr val="69B8D6"/>
        </a:buClr>
        <a:buChar char="•"/>
        <a:defRPr sz="800">
          <a:solidFill>
            <a:schemeClr val="tx1"/>
          </a:solidFill>
          <a:latin typeface="+mn-lt"/>
        </a:defRPr>
      </a:lvl6pPr>
      <a:lvl7pPr marL="1984208" indent="-212707" algn="l" rtl="0" fontAlgn="base">
        <a:lnSpc>
          <a:spcPct val="125000"/>
        </a:lnSpc>
        <a:spcBef>
          <a:spcPct val="20000"/>
        </a:spcBef>
        <a:spcAft>
          <a:spcPct val="0"/>
        </a:spcAft>
        <a:buClr>
          <a:srgbClr val="69B8D6"/>
        </a:buClr>
        <a:buChar char="•"/>
        <a:defRPr sz="800">
          <a:solidFill>
            <a:schemeClr val="tx1"/>
          </a:solidFill>
          <a:latin typeface="+mn-lt"/>
        </a:defRPr>
      </a:lvl7pPr>
      <a:lvl8pPr marL="2441370" indent="-212707" algn="l" rtl="0" fontAlgn="base">
        <a:lnSpc>
          <a:spcPct val="125000"/>
        </a:lnSpc>
        <a:spcBef>
          <a:spcPct val="20000"/>
        </a:spcBef>
        <a:spcAft>
          <a:spcPct val="0"/>
        </a:spcAft>
        <a:buClr>
          <a:srgbClr val="69B8D6"/>
        </a:buClr>
        <a:buChar char="•"/>
        <a:defRPr sz="800">
          <a:solidFill>
            <a:schemeClr val="tx1"/>
          </a:solidFill>
          <a:latin typeface="+mn-lt"/>
        </a:defRPr>
      </a:lvl8pPr>
      <a:lvl9pPr marL="2898531" indent="-212707" algn="l" rtl="0" fontAlgn="base">
        <a:lnSpc>
          <a:spcPct val="125000"/>
        </a:lnSpc>
        <a:spcBef>
          <a:spcPct val="20000"/>
        </a:spcBef>
        <a:spcAft>
          <a:spcPct val="0"/>
        </a:spcAft>
        <a:buClr>
          <a:srgbClr val="69B8D6"/>
        </a:buClr>
        <a:buChar char="•"/>
        <a:defRPr sz="800">
          <a:solidFill>
            <a:schemeClr val="tx1"/>
          </a:solidFill>
          <a:latin typeface="+mn-lt"/>
        </a:defRPr>
      </a:lvl9pPr>
    </p:bodyStyle>
    <p:otherStyle>
      <a:defPPr>
        <a:defRPr lang="en-US"/>
      </a:defPPr>
      <a:lvl1pPr marL="0" algn="l" defTabSz="914323" rtl="0" eaLnBrk="1" latinLnBrk="0" hangingPunct="1">
        <a:defRPr sz="1800" kern="1200">
          <a:solidFill>
            <a:schemeClr val="tx1"/>
          </a:solidFill>
          <a:latin typeface="+mn-lt"/>
          <a:ea typeface="+mn-ea"/>
          <a:cs typeface="+mn-cs"/>
        </a:defRPr>
      </a:lvl1pPr>
      <a:lvl2pPr marL="457162" algn="l" defTabSz="914323" rtl="0" eaLnBrk="1" latinLnBrk="0" hangingPunct="1">
        <a:defRPr sz="1800" kern="1200">
          <a:solidFill>
            <a:schemeClr val="tx1"/>
          </a:solidFill>
          <a:latin typeface="+mn-lt"/>
          <a:ea typeface="+mn-ea"/>
          <a:cs typeface="+mn-cs"/>
        </a:defRPr>
      </a:lvl2pPr>
      <a:lvl3pPr marL="914323" algn="l" defTabSz="914323" rtl="0" eaLnBrk="1" latinLnBrk="0" hangingPunct="1">
        <a:defRPr sz="1800" kern="1200">
          <a:solidFill>
            <a:schemeClr val="tx1"/>
          </a:solidFill>
          <a:latin typeface="+mn-lt"/>
          <a:ea typeface="+mn-ea"/>
          <a:cs typeface="+mn-cs"/>
        </a:defRPr>
      </a:lvl3pPr>
      <a:lvl4pPr marL="1371485" algn="l" defTabSz="914323" rtl="0" eaLnBrk="1" latinLnBrk="0" hangingPunct="1">
        <a:defRPr sz="1800" kern="1200">
          <a:solidFill>
            <a:schemeClr val="tx1"/>
          </a:solidFill>
          <a:latin typeface="+mn-lt"/>
          <a:ea typeface="+mn-ea"/>
          <a:cs typeface="+mn-cs"/>
        </a:defRPr>
      </a:lvl4pPr>
      <a:lvl5pPr marL="1828646" algn="l" defTabSz="914323" rtl="0" eaLnBrk="1" latinLnBrk="0" hangingPunct="1">
        <a:defRPr sz="1800" kern="1200">
          <a:solidFill>
            <a:schemeClr val="tx1"/>
          </a:solidFill>
          <a:latin typeface="+mn-lt"/>
          <a:ea typeface="+mn-ea"/>
          <a:cs typeface="+mn-cs"/>
        </a:defRPr>
      </a:lvl5pPr>
      <a:lvl6pPr marL="2285807" algn="l" defTabSz="914323" rtl="0" eaLnBrk="1" latinLnBrk="0" hangingPunct="1">
        <a:defRPr sz="1800" kern="1200">
          <a:solidFill>
            <a:schemeClr val="tx1"/>
          </a:solidFill>
          <a:latin typeface="+mn-lt"/>
          <a:ea typeface="+mn-ea"/>
          <a:cs typeface="+mn-cs"/>
        </a:defRPr>
      </a:lvl6pPr>
      <a:lvl7pPr marL="2742969" algn="l" defTabSz="914323" rtl="0" eaLnBrk="1" latinLnBrk="0" hangingPunct="1">
        <a:defRPr sz="1800" kern="1200">
          <a:solidFill>
            <a:schemeClr val="tx1"/>
          </a:solidFill>
          <a:latin typeface="+mn-lt"/>
          <a:ea typeface="+mn-ea"/>
          <a:cs typeface="+mn-cs"/>
        </a:defRPr>
      </a:lvl7pPr>
      <a:lvl8pPr marL="3200131" algn="l" defTabSz="914323" rtl="0" eaLnBrk="1" latinLnBrk="0" hangingPunct="1">
        <a:defRPr sz="1800" kern="1200">
          <a:solidFill>
            <a:schemeClr val="tx1"/>
          </a:solidFill>
          <a:latin typeface="+mn-lt"/>
          <a:ea typeface="+mn-ea"/>
          <a:cs typeface="+mn-cs"/>
        </a:defRPr>
      </a:lvl8pPr>
      <a:lvl9pPr marL="3657292" algn="l" defTabSz="91432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7"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493713"/>
            <a:ext cx="9432000" cy="914400"/>
          </a:xfrm>
          <a:prstGeom prst="rect">
            <a:avLst/>
          </a:prstGeom>
        </p:spPr>
        <p:txBody>
          <a:bodyPr vert="horz" lIns="0" tIns="0" rIns="0" bIns="0" rtlCol="0" anchor="t" anchorCtr="0">
            <a:noAutofit/>
          </a:bodyPr>
          <a:lstStyle/>
          <a:p>
            <a:r>
              <a:rPr lang="en-GB" noProof="0" smtClean="0"/>
              <a:t>Click to edit Master title style</a:t>
            </a:r>
            <a:endParaRPr lang="en-GB" noProof="0" dirty="0"/>
          </a:p>
        </p:txBody>
      </p:sp>
      <p:sp>
        <p:nvSpPr>
          <p:cNvPr id="3" name="Text Placeholder 2"/>
          <p:cNvSpPr>
            <a:spLocks noGrp="1"/>
          </p:cNvSpPr>
          <p:nvPr>
            <p:ph type="body" idx="1"/>
          </p:nvPr>
        </p:nvSpPr>
        <p:spPr>
          <a:xfrm>
            <a:off x="609600" y="1516064"/>
            <a:ext cx="10968000" cy="4507992"/>
          </a:xfrm>
          <a:prstGeom prst="rect">
            <a:avLst/>
          </a:prstGeom>
        </p:spPr>
        <p:txBody>
          <a:bodyPr vert="horz" lIns="0" tIns="0" rIns="0" bIns="0" rtlCol="0">
            <a:no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dirty="0"/>
          </a:p>
        </p:txBody>
      </p:sp>
      <p:pic>
        <p:nvPicPr>
          <p:cNvPr id="9" name="Picture 19" descr="C:\Users\vno013\Desktop\Maersk_Line_Logo.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8" descr="C:\Users\vno013\Desktop\Tagline_black.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363200" y="241300"/>
            <a:ext cx="1577975" cy="13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005120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6" r:id="rId13"/>
    <p:sldLayoutId id="2147483814" r:id="rId14"/>
    <p:sldLayoutId id="2147483847" r:id="rId15"/>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spcBef>
          <a:spcPts val="1200"/>
        </a:spcBef>
        <a:spcAft>
          <a:spcPts val="0"/>
        </a:spcAft>
        <a:buSzPct val="100000"/>
        <a:buFont typeface="Arial" pitchFamily="34" charset="0"/>
        <a:buChar char="•"/>
        <a:defRPr sz="1800" kern="1200">
          <a:solidFill>
            <a:schemeClr val="tx1"/>
          </a:solidFill>
          <a:latin typeface="+mn-lt"/>
          <a:ea typeface="+mn-ea"/>
          <a:cs typeface="+mn-cs"/>
        </a:defRPr>
      </a:lvl1pPr>
      <a:lvl2pPr marL="363600" indent="-180000" algn="l" defTabSz="914400" rtl="0" eaLnBrk="1" latinLnBrk="0" hangingPunct="1">
        <a:spcBef>
          <a:spcPts val="1200"/>
        </a:spcBef>
        <a:spcAft>
          <a:spcPts val="0"/>
        </a:spcAft>
        <a:buSzPct val="100000"/>
        <a:buFont typeface="Arial" pitchFamily="34" charset="0"/>
        <a:buChar char="•"/>
        <a:defRPr sz="1600" kern="1200">
          <a:solidFill>
            <a:schemeClr val="tx1"/>
          </a:solidFill>
          <a:latin typeface="+mn-lt"/>
          <a:ea typeface="+mn-ea"/>
          <a:cs typeface="+mn-cs"/>
        </a:defRPr>
      </a:lvl2pPr>
      <a:lvl3pPr marL="543600" indent="-180000" algn="l" defTabSz="914400" rtl="0" eaLnBrk="1" latinLnBrk="0" hangingPunct="1">
        <a:spcBef>
          <a:spcPts val="1200"/>
        </a:spcBef>
        <a:spcAft>
          <a:spcPts val="0"/>
        </a:spcAft>
        <a:buSzPct val="100000"/>
        <a:buFont typeface="Arial" pitchFamily="34" charset="0"/>
        <a:buChar char="•"/>
        <a:defRPr sz="1400" kern="1200">
          <a:solidFill>
            <a:schemeClr val="tx1"/>
          </a:solidFill>
          <a:latin typeface="+mn-lt"/>
          <a:ea typeface="+mn-ea"/>
          <a:cs typeface="+mn-cs"/>
        </a:defRPr>
      </a:lvl3pPr>
      <a:lvl4pPr marL="723600" indent="-180000" algn="l" defTabSz="914400" rtl="0" eaLnBrk="1" latinLnBrk="0" hangingPunct="1">
        <a:spcBef>
          <a:spcPts val="1200"/>
        </a:spcBef>
        <a:spcAft>
          <a:spcPts val="0"/>
        </a:spcAft>
        <a:buSzPct val="100000"/>
        <a:buFont typeface="Arial" pitchFamily="34" charset="0"/>
        <a:buChar char="•"/>
        <a:defRPr sz="1400" kern="1200">
          <a:solidFill>
            <a:schemeClr val="tx1"/>
          </a:solidFill>
          <a:latin typeface="+mn-lt"/>
          <a:ea typeface="+mn-ea"/>
          <a:cs typeface="+mn-cs"/>
        </a:defRPr>
      </a:lvl4pPr>
      <a:lvl5pPr marL="903600" indent="-180000" algn="l" defTabSz="914400" rtl="0" eaLnBrk="1" latinLnBrk="0" hangingPunct="1">
        <a:spcBef>
          <a:spcPts val="1200"/>
        </a:spcBef>
        <a:spcAft>
          <a:spcPts val="0"/>
        </a:spcAft>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143256" y="139701"/>
            <a:ext cx="11905488" cy="6212391"/>
          </a:xfrm>
          <a:prstGeom prst="rect">
            <a:avLst/>
          </a:prstGeom>
          <a:solidFill>
            <a:srgbClr val="69B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
              </a:spcBef>
              <a:spcAft>
                <a:spcPts val="600"/>
              </a:spcAft>
            </a:pPr>
            <a:endParaRPr lang="da-DK" dirty="0">
              <a:solidFill>
                <a:srgbClr val="FFFFFF"/>
              </a:solidFill>
            </a:endParaRPr>
          </a:p>
        </p:txBody>
      </p:sp>
      <p:graphicFrame>
        <p:nvGraphicFramePr>
          <p:cNvPr id="7" name="Object 6" hidden="1"/>
          <p:cNvGraphicFramePr>
            <a:graphicFrameLocks noChangeAspect="1"/>
          </p:cNvGraphicFramePr>
          <p:nvPr>
            <p:custDataLst>
              <p:tags r:id="rId1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27"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white">
          <a:xfrm>
            <a:off x="609600" y="494522"/>
            <a:ext cx="9432000" cy="916678"/>
          </a:xfrm>
          <a:prstGeom prst="rect">
            <a:avLst/>
          </a:prstGeom>
        </p:spPr>
        <p:txBody>
          <a:bodyPr vert="horz" lIns="0" tIns="0" rIns="0" bIns="0" rtlCol="0" anchor="t" anchorCtr="0">
            <a:noAutofit/>
          </a:bodyPr>
          <a:lstStyle/>
          <a:p>
            <a:r>
              <a:rPr lang="en-US" noProof="0" dirty="0" smtClean="0"/>
              <a:t>Click to edit Master title style</a:t>
            </a:r>
            <a:endParaRPr lang="en-GB" noProof="0" dirty="0"/>
          </a:p>
        </p:txBody>
      </p:sp>
      <p:sp>
        <p:nvSpPr>
          <p:cNvPr id="3" name="Text Placeholder 2"/>
          <p:cNvSpPr>
            <a:spLocks noGrp="1"/>
          </p:cNvSpPr>
          <p:nvPr>
            <p:ph type="body" idx="1"/>
          </p:nvPr>
        </p:nvSpPr>
        <p:spPr bwMode="white">
          <a:xfrm>
            <a:off x="609600" y="1516063"/>
            <a:ext cx="10968000" cy="4507992"/>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pic>
        <p:nvPicPr>
          <p:cNvPr id="8" name="Picture 19" descr="C:\Users\vno013\Desktop\Maersk_Line_Logo.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362441" y="241300"/>
            <a:ext cx="1578734" cy="140196"/>
          </a:xfrm>
          <a:prstGeom prst="rect">
            <a:avLst/>
          </a:prstGeom>
        </p:spPr>
      </p:pic>
    </p:spTree>
    <p:extLst>
      <p:ext uri="{BB962C8B-B14F-4D97-AF65-F5344CB8AC3E}">
        <p14:creationId xmlns:p14="http://schemas.microsoft.com/office/powerpoint/2010/main" val="346358565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3" r:id="rId12"/>
    <p:sldLayoutId id="2147483714" r:id="rId13"/>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180000" indent="-180000" algn="l" defTabSz="914400" rtl="0" eaLnBrk="1" latinLnBrk="0" hangingPunct="1">
        <a:spcBef>
          <a:spcPts val="1200"/>
        </a:spcBef>
        <a:spcAft>
          <a:spcPts val="0"/>
        </a:spcAft>
        <a:buSzPct val="80000"/>
        <a:buFont typeface="Arial" pitchFamily="34" charset="0"/>
        <a:buChar char="•"/>
        <a:defRPr sz="1800" kern="1200">
          <a:solidFill>
            <a:schemeClr val="bg1"/>
          </a:solidFill>
          <a:latin typeface="+mn-lt"/>
          <a:ea typeface="+mn-ea"/>
          <a:cs typeface="+mn-cs"/>
        </a:defRPr>
      </a:lvl1pPr>
      <a:lvl2pPr marL="363600" indent="-180000" algn="l" defTabSz="914400" rtl="0" eaLnBrk="1" latinLnBrk="0" hangingPunct="1">
        <a:spcBef>
          <a:spcPts val="1200"/>
        </a:spcBef>
        <a:spcAft>
          <a:spcPts val="0"/>
        </a:spcAft>
        <a:buSzPct val="80000"/>
        <a:buFont typeface="Arial" pitchFamily="34" charset="0"/>
        <a:buChar char="•"/>
        <a:defRPr sz="1600" kern="1200">
          <a:solidFill>
            <a:schemeClr val="bg1"/>
          </a:solidFill>
          <a:latin typeface="+mn-lt"/>
          <a:ea typeface="+mn-ea"/>
          <a:cs typeface="+mn-cs"/>
        </a:defRPr>
      </a:lvl2pPr>
      <a:lvl3pPr marL="543600" indent="-180000" algn="l" defTabSz="914400"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3pPr>
      <a:lvl4pPr marL="723600" indent="-180000" algn="l" defTabSz="914400"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4pPr>
      <a:lvl5pPr marL="903600" indent="-180000" algn="l" defTabSz="914400" rtl="0" eaLnBrk="1" latinLnBrk="0" hangingPunct="1">
        <a:spcBef>
          <a:spcPts val="1200"/>
        </a:spcBef>
        <a:spcAft>
          <a:spcPts val="0"/>
        </a:spcAft>
        <a:buSzPct val="80000"/>
        <a:buFont typeface="Arial" pitchFamily="34" charset="0"/>
        <a:buChar char="•"/>
        <a:defRPr sz="14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5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493713"/>
            <a:ext cx="9432000" cy="914400"/>
          </a:xfrm>
          <a:prstGeom prst="rect">
            <a:avLst/>
          </a:prstGeom>
        </p:spPr>
        <p:txBody>
          <a:bodyPr vert="horz" lIns="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609600" y="1516064"/>
            <a:ext cx="10968000" cy="450799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pic>
        <p:nvPicPr>
          <p:cNvPr id="9" name="Picture 19" descr="C:\Users\vno013\Desktop\Maersk_Line_Logo.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8" descr="C:\Users\vno013\Desktop\Tagline_black.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363200" y="241300"/>
            <a:ext cx="1577975" cy="13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331591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spcBef>
          <a:spcPts val="1200"/>
        </a:spcBef>
        <a:spcAft>
          <a:spcPts val="0"/>
        </a:spcAft>
        <a:buSzPct val="100000"/>
        <a:buFont typeface="Arial" pitchFamily="34" charset="0"/>
        <a:buChar char="•"/>
        <a:defRPr sz="1800" kern="1200">
          <a:solidFill>
            <a:schemeClr val="tx1"/>
          </a:solidFill>
          <a:latin typeface="+mn-lt"/>
          <a:ea typeface="+mn-ea"/>
          <a:cs typeface="+mn-cs"/>
        </a:defRPr>
      </a:lvl1pPr>
      <a:lvl2pPr marL="363600" indent="-180000" algn="l" defTabSz="914400" rtl="0" eaLnBrk="1" latinLnBrk="0" hangingPunct="1">
        <a:spcBef>
          <a:spcPts val="1200"/>
        </a:spcBef>
        <a:spcAft>
          <a:spcPts val="0"/>
        </a:spcAft>
        <a:buSzPct val="100000"/>
        <a:buFont typeface="Arial" pitchFamily="34" charset="0"/>
        <a:buChar char="•"/>
        <a:defRPr sz="1600" kern="1200">
          <a:solidFill>
            <a:schemeClr val="tx1"/>
          </a:solidFill>
          <a:latin typeface="+mn-lt"/>
          <a:ea typeface="+mn-ea"/>
          <a:cs typeface="+mn-cs"/>
        </a:defRPr>
      </a:lvl2pPr>
      <a:lvl3pPr marL="543600" indent="-180000" algn="l" defTabSz="914400" rtl="0" eaLnBrk="1" latinLnBrk="0" hangingPunct="1">
        <a:spcBef>
          <a:spcPts val="1200"/>
        </a:spcBef>
        <a:spcAft>
          <a:spcPts val="0"/>
        </a:spcAft>
        <a:buSzPct val="100000"/>
        <a:buFont typeface="Arial" pitchFamily="34" charset="0"/>
        <a:buChar char="•"/>
        <a:defRPr sz="1400" kern="1200">
          <a:solidFill>
            <a:schemeClr val="tx1"/>
          </a:solidFill>
          <a:latin typeface="+mn-lt"/>
          <a:ea typeface="+mn-ea"/>
          <a:cs typeface="+mn-cs"/>
        </a:defRPr>
      </a:lvl3pPr>
      <a:lvl4pPr marL="723600" indent="-180000" algn="l" defTabSz="914400" rtl="0" eaLnBrk="1" latinLnBrk="0" hangingPunct="1">
        <a:spcBef>
          <a:spcPts val="1200"/>
        </a:spcBef>
        <a:spcAft>
          <a:spcPts val="0"/>
        </a:spcAft>
        <a:buSzPct val="100000"/>
        <a:buFont typeface="Arial" pitchFamily="34" charset="0"/>
        <a:buChar char="•"/>
        <a:defRPr sz="1400" kern="1200">
          <a:solidFill>
            <a:schemeClr val="tx1"/>
          </a:solidFill>
          <a:latin typeface="+mn-lt"/>
          <a:ea typeface="+mn-ea"/>
          <a:cs typeface="+mn-cs"/>
        </a:defRPr>
      </a:lvl4pPr>
      <a:lvl5pPr marL="903600" indent="-180000" algn="l" defTabSz="914400" rtl="0" eaLnBrk="1" latinLnBrk="0" hangingPunct="1">
        <a:spcBef>
          <a:spcPts val="1200"/>
        </a:spcBef>
        <a:spcAft>
          <a:spcPts val="0"/>
        </a:spcAft>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76"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09600" y="493713"/>
            <a:ext cx="9432000" cy="91748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609600" y="1516063"/>
            <a:ext cx="10968000" cy="450799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pic>
        <p:nvPicPr>
          <p:cNvPr id="8" name="Picture 19" descr="C:\Users\vno013\Desktop\Maersk_Line_Log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8" descr="C:\Users\vno013\Desktop\Tagline_black.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63200" y="241300"/>
            <a:ext cx="1577975" cy="13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73138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64" r:id="rId9"/>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spcBef>
          <a:spcPts val="1200"/>
        </a:spcBef>
        <a:spcAft>
          <a:spcPts val="0"/>
        </a:spcAft>
        <a:buSzPct val="80000"/>
        <a:buFont typeface="Arial" pitchFamily="34" charset="0"/>
        <a:buChar char="•"/>
        <a:defRPr sz="1800" kern="1200">
          <a:solidFill>
            <a:schemeClr val="tx1"/>
          </a:solidFill>
          <a:latin typeface="+mn-lt"/>
          <a:ea typeface="+mn-ea"/>
          <a:cs typeface="+mn-cs"/>
        </a:defRPr>
      </a:lvl1pPr>
      <a:lvl2pPr marL="363600" indent="-180000" algn="l" defTabSz="914400" rtl="0" eaLnBrk="1" latinLnBrk="0" hangingPunct="1">
        <a:spcBef>
          <a:spcPts val="1200"/>
        </a:spcBef>
        <a:spcAft>
          <a:spcPts val="0"/>
        </a:spcAft>
        <a:buSzPct val="80000"/>
        <a:buFont typeface="Arial" pitchFamily="34" charset="0"/>
        <a:buChar char="•"/>
        <a:defRPr sz="1600" kern="1200">
          <a:solidFill>
            <a:schemeClr val="tx1"/>
          </a:solidFill>
          <a:latin typeface="+mn-lt"/>
          <a:ea typeface="+mn-ea"/>
          <a:cs typeface="+mn-cs"/>
        </a:defRPr>
      </a:lvl2pPr>
      <a:lvl3pPr marL="54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3pPr>
      <a:lvl4pPr marL="72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4pPr>
      <a:lvl5pPr marL="90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1"/>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9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493713"/>
            <a:ext cx="9432000" cy="91440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609600" y="1516064"/>
            <a:ext cx="10968000" cy="450799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pic>
        <p:nvPicPr>
          <p:cNvPr id="9" name="Picture 19" descr="C:\Users\vno013\Desktop\Maersk_Line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8" descr="C:\Users\vno013\Desktop\Tagline_black.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363200" y="241300"/>
            <a:ext cx="1577975" cy="13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183113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spcBef>
          <a:spcPts val="1200"/>
        </a:spcBef>
        <a:spcAft>
          <a:spcPts val="0"/>
        </a:spcAft>
        <a:buSzPct val="80000"/>
        <a:buFont typeface="Arial" pitchFamily="34" charset="0"/>
        <a:buChar char="•"/>
        <a:defRPr sz="1800" kern="1200">
          <a:solidFill>
            <a:schemeClr val="tx1"/>
          </a:solidFill>
          <a:latin typeface="+mn-lt"/>
          <a:ea typeface="+mn-ea"/>
          <a:cs typeface="+mn-cs"/>
        </a:defRPr>
      </a:lvl1pPr>
      <a:lvl2pPr marL="363600" indent="-180000" algn="l" defTabSz="914400" rtl="0" eaLnBrk="1" latinLnBrk="0" hangingPunct="1">
        <a:spcBef>
          <a:spcPts val="1200"/>
        </a:spcBef>
        <a:spcAft>
          <a:spcPts val="0"/>
        </a:spcAft>
        <a:buSzPct val="80000"/>
        <a:buFont typeface="Arial" pitchFamily="34" charset="0"/>
        <a:buChar char="•"/>
        <a:defRPr sz="1600" kern="1200">
          <a:solidFill>
            <a:schemeClr val="tx1"/>
          </a:solidFill>
          <a:latin typeface="+mn-lt"/>
          <a:ea typeface="+mn-ea"/>
          <a:cs typeface="+mn-cs"/>
        </a:defRPr>
      </a:lvl2pPr>
      <a:lvl3pPr marL="54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3pPr>
      <a:lvl4pPr marL="72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4pPr>
      <a:lvl5pPr marL="90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223"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09600" y="493713"/>
            <a:ext cx="9432000" cy="91440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609600" y="1516064"/>
            <a:ext cx="10968000" cy="450799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pic>
        <p:nvPicPr>
          <p:cNvPr id="9" name="Picture 19" descr="C:\Users\vno013\Desktop\Maersk_Line_Log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8" descr="C:\Users\vno013\Desktop\Tagline_black.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63200" y="241300"/>
            <a:ext cx="1577975" cy="13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8476631"/>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spcBef>
          <a:spcPts val="1200"/>
        </a:spcBef>
        <a:spcAft>
          <a:spcPts val="0"/>
        </a:spcAft>
        <a:buSzPct val="80000"/>
        <a:buFont typeface="Arial" pitchFamily="34" charset="0"/>
        <a:buChar char="•"/>
        <a:defRPr sz="1800" kern="1200">
          <a:solidFill>
            <a:schemeClr val="tx1"/>
          </a:solidFill>
          <a:latin typeface="+mn-lt"/>
          <a:ea typeface="+mn-ea"/>
          <a:cs typeface="+mn-cs"/>
        </a:defRPr>
      </a:lvl1pPr>
      <a:lvl2pPr marL="363600" indent="-180000" algn="l" defTabSz="914400" rtl="0" eaLnBrk="1" latinLnBrk="0" hangingPunct="1">
        <a:spcBef>
          <a:spcPts val="1200"/>
        </a:spcBef>
        <a:spcAft>
          <a:spcPts val="0"/>
        </a:spcAft>
        <a:buSzPct val="80000"/>
        <a:buFont typeface="Arial" pitchFamily="34" charset="0"/>
        <a:buChar char="•"/>
        <a:defRPr sz="1600" kern="1200">
          <a:solidFill>
            <a:schemeClr val="tx1"/>
          </a:solidFill>
          <a:latin typeface="+mn-lt"/>
          <a:ea typeface="+mn-ea"/>
          <a:cs typeface="+mn-cs"/>
        </a:defRPr>
      </a:lvl2pPr>
      <a:lvl3pPr marL="54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3pPr>
      <a:lvl4pPr marL="72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4pPr>
      <a:lvl5pPr marL="90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1"/>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4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493713"/>
            <a:ext cx="9432000" cy="914400"/>
          </a:xfrm>
          <a:prstGeom prst="rect">
            <a:avLst/>
          </a:prstGeom>
        </p:spPr>
        <p:txBody>
          <a:bodyPr vert="horz" lIns="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609600" y="1516064"/>
            <a:ext cx="10968000" cy="450799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pic>
        <p:nvPicPr>
          <p:cNvPr id="9" name="Picture 19" descr="C:\Users\vno013\Desktop\Maersk_Line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552286" y="6084642"/>
            <a:ext cx="1639714" cy="76957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8" descr="C:\Users\vno013\Desktop\Tagline_black.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363200" y="241300"/>
            <a:ext cx="1577975" cy="13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751694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spcBef>
          <a:spcPts val="1200"/>
        </a:spcBef>
        <a:spcAft>
          <a:spcPts val="0"/>
        </a:spcAft>
        <a:buSzPct val="80000"/>
        <a:buFont typeface="Arial" pitchFamily="34" charset="0"/>
        <a:buChar char="•"/>
        <a:defRPr sz="1800" kern="1200">
          <a:solidFill>
            <a:schemeClr val="tx1"/>
          </a:solidFill>
          <a:latin typeface="+mn-lt"/>
          <a:ea typeface="+mn-ea"/>
          <a:cs typeface="+mn-cs"/>
        </a:defRPr>
      </a:lvl1pPr>
      <a:lvl2pPr marL="363600" indent="-180000" algn="l" defTabSz="914400" rtl="0" eaLnBrk="1" latinLnBrk="0" hangingPunct="1">
        <a:spcBef>
          <a:spcPts val="1200"/>
        </a:spcBef>
        <a:spcAft>
          <a:spcPts val="0"/>
        </a:spcAft>
        <a:buSzPct val="80000"/>
        <a:buFont typeface="Arial" pitchFamily="34" charset="0"/>
        <a:buChar char="•"/>
        <a:defRPr sz="1600" kern="1200">
          <a:solidFill>
            <a:schemeClr val="tx1"/>
          </a:solidFill>
          <a:latin typeface="+mn-lt"/>
          <a:ea typeface="+mn-ea"/>
          <a:cs typeface="+mn-cs"/>
        </a:defRPr>
      </a:lvl2pPr>
      <a:lvl3pPr marL="54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3pPr>
      <a:lvl4pPr marL="72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4pPr>
      <a:lvl5pPr marL="903600" indent="-180000" algn="l" defTabSz="914400" rtl="0" eaLnBrk="1" latinLnBrk="0" hangingPunct="1">
        <a:spcBef>
          <a:spcPts val="1200"/>
        </a:spcBef>
        <a:spcAft>
          <a:spcPts val="0"/>
        </a:spcAft>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ChangeArrowheads="1"/>
          </p:cNvSpPr>
          <p:nvPr/>
        </p:nvSpPr>
        <p:spPr bwMode="auto">
          <a:xfrm>
            <a:off x="192621" y="142875"/>
            <a:ext cx="11804649" cy="147638"/>
          </a:xfrm>
          <a:prstGeom prst="rect">
            <a:avLst/>
          </a:prstGeom>
          <a:solidFill>
            <a:srgbClr val="69B8D6"/>
          </a:solidFill>
          <a:ln w="127">
            <a:noFill/>
            <a:miter lim="800000"/>
            <a:headEnd/>
            <a:tailEnd/>
          </a:ln>
          <a:effectLst/>
        </p:spPr>
        <p:txBody>
          <a:bodyPr wrap="none" lIns="91432" tIns="45717" rIns="91432" bIns="45717" anchor="ctr"/>
          <a:lstStyle/>
          <a:p>
            <a:pPr defTabSz="914323" fontAlgn="base">
              <a:lnSpc>
                <a:spcPct val="107000"/>
              </a:lnSpc>
              <a:spcBef>
                <a:spcPct val="0"/>
              </a:spcBef>
              <a:spcAft>
                <a:spcPct val="0"/>
              </a:spcAft>
              <a:defRPr/>
            </a:pPr>
            <a:endParaRPr lang="en-GB" sz="1400" dirty="0">
              <a:solidFill>
                <a:prstClr val="black"/>
              </a:solidFill>
            </a:endParaRPr>
          </a:p>
        </p:txBody>
      </p:sp>
      <p:sp>
        <p:nvSpPr>
          <p:cNvPr id="1027" name="Rectangle 4"/>
          <p:cNvSpPr>
            <a:spLocks noGrp="1" noChangeArrowheads="1"/>
          </p:cNvSpPr>
          <p:nvPr>
            <p:ph type="title"/>
          </p:nvPr>
        </p:nvSpPr>
        <p:spPr bwMode="auto">
          <a:xfrm>
            <a:off x="766233" y="287342"/>
            <a:ext cx="10653184" cy="15128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1028" name="Rectangle 5"/>
          <p:cNvSpPr>
            <a:spLocks noGrp="1" noChangeArrowheads="1"/>
          </p:cNvSpPr>
          <p:nvPr>
            <p:ph type="body" idx="1"/>
          </p:nvPr>
        </p:nvSpPr>
        <p:spPr bwMode="auto">
          <a:xfrm>
            <a:off x="766233" y="2085975"/>
            <a:ext cx="10653184" cy="37782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29702" name="Rectangle 6"/>
          <p:cNvSpPr>
            <a:spLocks noGrp="1" noChangeArrowheads="1"/>
          </p:cNvSpPr>
          <p:nvPr>
            <p:ph type="dt" sz="half" idx="2"/>
          </p:nvPr>
        </p:nvSpPr>
        <p:spPr bwMode="auto">
          <a:xfrm>
            <a:off x="4692652" y="6548442"/>
            <a:ext cx="3996267"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r>
              <a:rPr lang="en-US" dirty="0" smtClean="0">
                <a:solidFill>
                  <a:prstClr val="black"/>
                </a:solidFill>
              </a:rPr>
              <a:t>10/25/2011</a:t>
            </a:r>
            <a:endParaRPr lang="en-GB" dirty="0">
              <a:solidFill>
                <a:prstClr val="black"/>
              </a:solidFill>
            </a:endParaRPr>
          </a:p>
        </p:txBody>
      </p:sp>
      <p:sp>
        <p:nvSpPr>
          <p:cNvPr id="29704" name="Rectangle 8"/>
          <p:cNvSpPr>
            <a:spLocks noGrp="1" noChangeArrowheads="1"/>
          </p:cNvSpPr>
          <p:nvPr>
            <p:ph type="sldNum" sz="quarter" idx="4"/>
          </p:nvPr>
        </p:nvSpPr>
        <p:spPr bwMode="auto">
          <a:xfrm>
            <a:off x="812800" y="6548442"/>
            <a:ext cx="1439333" cy="1793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ct val="111000"/>
              </a:lnSpc>
              <a:defRPr sz="900"/>
            </a:lvl1pPr>
          </a:lstStyle>
          <a:p>
            <a:pPr defTabSz="914323" fontAlgn="base">
              <a:spcBef>
                <a:spcPct val="0"/>
              </a:spcBef>
              <a:spcAft>
                <a:spcPct val="0"/>
              </a:spcAft>
              <a:defRPr/>
            </a:pPr>
            <a:fld id="{1E883611-811B-4CE6-9ACC-5C51EF93CCFD}" type="slidenum">
              <a:rPr lang="en-GB" smtClean="0">
                <a:solidFill>
                  <a:prstClr val="black"/>
                </a:solidFill>
              </a:rPr>
              <a:pPr defTabSz="914323" fontAlgn="base">
                <a:spcBef>
                  <a:spcPct val="0"/>
                </a:spcBef>
                <a:spcAft>
                  <a:spcPct val="0"/>
                </a:spcAft>
                <a:defRPr/>
              </a:pPr>
              <a:t>‹#›</a:t>
            </a:fld>
            <a:endParaRPr lang="en-GB" dirty="0">
              <a:solidFill>
                <a:prstClr val="black"/>
              </a:solidFill>
            </a:endParaRPr>
          </a:p>
        </p:txBody>
      </p:sp>
      <p:sp>
        <p:nvSpPr>
          <p:cNvPr id="29708" name="Text Box 12"/>
          <p:cNvSpPr txBox="1">
            <a:spLocks noChangeArrowheads="1"/>
          </p:cNvSpPr>
          <p:nvPr/>
        </p:nvSpPr>
        <p:spPr bwMode="auto">
          <a:xfrm>
            <a:off x="-2705100" y="6369054"/>
            <a:ext cx="2565400" cy="296363"/>
          </a:xfrm>
          <a:prstGeom prst="rect">
            <a:avLst/>
          </a:prstGeom>
          <a:noFill/>
          <a:ln w="9525" algn="ctr">
            <a:noFill/>
            <a:miter lim="800000"/>
            <a:headEnd/>
            <a:tailEnd/>
          </a:ln>
          <a:effectLst/>
        </p:spPr>
        <p:txBody>
          <a:bodyPr lIns="0" tIns="0" rIns="0" bIns="0">
            <a:spAutoFit/>
          </a:bodyPr>
          <a:lstStyle/>
          <a:p>
            <a:pPr algn="r" defTabSz="914323" fontAlgn="base">
              <a:lnSpc>
                <a:spcPct val="107000"/>
              </a:lnSpc>
              <a:spcBef>
                <a:spcPct val="50000"/>
              </a:spcBef>
              <a:spcAft>
                <a:spcPct val="0"/>
              </a:spcAft>
              <a:defRPr/>
            </a:pPr>
            <a:r>
              <a:rPr lang="en-GB" sz="900" dirty="0">
                <a:solidFill>
                  <a:prstClr val="white"/>
                </a:solidFill>
              </a:rPr>
              <a:t>Insert department name via ‘View/Header and Footer…’</a:t>
            </a:r>
          </a:p>
        </p:txBody>
      </p:sp>
      <p:sp>
        <p:nvSpPr>
          <p:cNvPr id="29709" name="Line 13"/>
          <p:cNvSpPr>
            <a:spLocks noChangeShapeType="1"/>
          </p:cNvSpPr>
          <p:nvPr/>
        </p:nvSpPr>
        <p:spPr bwMode="auto">
          <a:xfrm>
            <a:off x="-632882" y="6704013"/>
            <a:ext cx="480484" cy="0"/>
          </a:xfrm>
          <a:prstGeom prst="line">
            <a:avLst/>
          </a:prstGeom>
          <a:noFill/>
          <a:ln w="9525">
            <a:solidFill>
              <a:schemeClr val="bg1"/>
            </a:solidFill>
            <a:round/>
            <a:headEnd/>
            <a:tailEnd/>
          </a:ln>
          <a:effectLst/>
        </p:spPr>
        <p:txBody>
          <a:bodyPr lIns="0" tIns="0" rIns="0" bIns="0"/>
          <a:lstStyle/>
          <a:p>
            <a:pPr defTabSz="914323" fontAlgn="base">
              <a:lnSpc>
                <a:spcPct val="107000"/>
              </a:lnSpc>
              <a:spcBef>
                <a:spcPct val="0"/>
              </a:spcBef>
              <a:spcAft>
                <a:spcPct val="0"/>
              </a:spcAft>
              <a:defRPr/>
            </a:pPr>
            <a:endParaRPr lang="en-GB" sz="1400" dirty="0">
              <a:solidFill>
                <a:prstClr val="black"/>
              </a:solidFill>
            </a:endParaRPr>
          </a:p>
        </p:txBody>
      </p:sp>
      <p:pic>
        <p:nvPicPr>
          <p:cNvPr id="1034" name="Picture 14" descr="Maersk_Line_Hvid baggrund"/>
          <p:cNvPicPr>
            <a:picLocks noChangeAspect="1" noChangeArrowheads="1"/>
          </p:cNvPicPr>
          <p:nvPr/>
        </p:nvPicPr>
        <p:blipFill>
          <a:blip r:embed="rId17" cstate="print"/>
          <a:srcRect/>
          <a:stretch>
            <a:fillRect/>
          </a:stretch>
        </p:blipFill>
        <p:spPr bwMode="auto">
          <a:xfrm>
            <a:off x="9698569" y="6013451"/>
            <a:ext cx="2493433" cy="844550"/>
          </a:xfrm>
          <a:prstGeom prst="rect">
            <a:avLst/>
          </a:prstGeom>
          <a:noFill/>
          <a:ln w="9525">
            <a:noFill/>
            <a:miter lim="800000"/>
            <a:headEnd/>
            <a:tailEnd/>
          </a:ln>
        </p:spPr>
      </p:pic>
    </p:spTree>
    <p:extLst>
      <p:ext uri="{BB962C8B-B14F-4D97-AF65-F5344CB8AC3E}">
        <p14:creationId xmlns:p14="http://schemas.microsoft.com/office/powerpoint/2010/main" val="378291125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Lst>
  <p:hf hdr="0" ftr="0"/>
  <p:txStyles>
    <p:titleStyle>
      <a:lvl1pPr algn="l" rtl="0" eaLnBrk="0" fontAlgn="base" hangingPunct="0">
        <a:lnSpc>
          <a:spcPct val="94000"/>
        </a:lnSpc>
        <a:spcBef>
          <a:spcPct val="0"/>
        </a:spcBef>
        <a:spcAft>
          <a:spcPct val="0"/>
        </a:spcAft>
        <a:defRPr sz="2800">
          <a:solidFill>
            <a:schemeClr val="tx1"/>
          </a:solidFill>
          <a:latin typeface="+mj-lt"/>
          <a:ea typeface="+mj-ea"/>
          <a:cs typeface="+mj-cs"/>
        </a:defRPr>
      </a:lvl1pPr>
      <a:lvl2pPr algn="l" rtl="0" eaLnBrk="0" fontAlgn="base" hangingPunct="0">
        <a:lnSpc>
          <a:spcPct val="94000"/>
        </a:lnSpc>
        <a:spcBef>
          <a:spcPct val="0"/>
        </a:spcBef>
        <a:spcAft>
          <a:spcPct val="0"/>
        </a:spcAft>
        <a:defRPr sz="2800">
          <a:solidFill>
            <a:schemeClr val="tx1"/>
          </a:solidFill>
          <a:latin typeface="Verdana" pitchFamily="34" charset="0"/>
        </a:defRPr>
      </a:lvl2pPr>
      <a:lvl3pPr algn="l" rtl="0" eaLnBrk="0" fontAlgn="base" hangingPunct="0">
        <a:lnSpc>
          <a:spcPct val="94000"/>
        </a:lnSpc>
        <a:spcBef>
          <a:spcPct val="0"/>
        </a:spcBef>
        <a:spcAft>
          <a:spcPct val="0"/>
        </a:spcAft>
        <a:defRPr sz="2800">
          <a:solidFill>
            <a:schemeClr val="tx1"/>
          </a:solidFill>
          <a:latin typeface="Verdana" pitchFamily="34" charset="0"/>
        </a:defRPr>
      </a:lvl3pPr>
      <a:lvl4pPr algn="l" rtl="0" eaLnBrk="0" fontAlgn="base" hangingPunct="0">
        <a:lnSpc>
          <a:spcPct val="94000"/>
        </a:lnSpc>
        <a:spcBef>
          <a:spcPct val="0"/>
        </a:spcBef>
        <a:spcAft>
          <a:spcPct val="0"/>
        </a:spcAft>
        <a:defRPr sz="2800">
          <a:solidFill>
            <a:schemeClr val="tx1"/>
          </a:solidFill>
          <a:latin typeface="Verdana" pitchFamily="34" charset="0"/>
        </a:defRPr>
      </a:lvl4pPr>
      <a:lvl5pPr algn="l" rtl="0" eaLnBrk="0" fontAlgn="base" hangingPunct="0">
        <a:lnSpc>
          <a:spcPct val="94000"/>
        </a:lnSpc>
        <a:spcBef>
          <a:spcPct val="0"/>
        </a:spcBef>
        <a:spcAft>
          <a:spcPct val="0"/>
        </a:spcAft>
        <a:defRPr sz="2800">
          <a:solidFill>
            <a:schemeClr val="tx1"/>
          </a:solidFill>
          <a:latin typeface="Verdana" pitchFamily="34" charset="0"/>
        </a:defRPr>
      </a:lvl5pPr>
      <a:lvl6pPr marL="457162" algn="l" rtl="0" fontAlgn="base">
        <a:lnSpc>
          <a:spcPct val="94000"/>
        </a:lnSpc>
        <a:spcBef>
          <a:spcPct val="0"/>
        </a:spcBef>
        <a:spcAft>
          <a:spcPct val="0"/>
        </a:spcAft>
        <a:defRPr sz="2800">
          <a:solidFill>
            <a:schemeClr val="tx1"/>
          </a:solidFill>
          <a:latin typeface="Verdana" pitchFamily="34" charset="0"/>
        </a:defRPr>
      </a:lvl6pPr>
      <a:lvl7pPr marL="914323" algn="l" rtl="0" fontAlgn="base">
        <a:lnSpc>
          <a:spcPct val="94000"/>
        </a:lnSpc>
        <a:spcBef>
          <a:spcPct val="0"/>
        </a:spcBef>
        <a:spcAft>
          <a:spcPct val="0"/>
        </a:spcAft>
        <a:defRPr sz="2800">
          <a:solidFill>
            <a:schemeClr val="tx1"/>
          </a:solidFill>
          <a:latin typeface="Verdana" pitchFamily="34" charset="0"/>
        </a:defRPr>
      </a:lvl7pPr>
      <a:lvl8pPr marL="1371485" algn="l" rtl="0" fontAlgn="base">
        <a:lnSpc>
          <a:spcPct val="94000"/>
        </a:lnSpc>
        <a:spcBef>
          <a:spcPct val="0"/>
        </a:spcBef>
        <a:spcAft>
          <a:spcPct val="0"/>
        </a:spcAft>
        <a:defRPr sz="2800">
          <a:solidFill>
            <a:schemeClr val="tx1"/>
          </a:solidFill>
          <a:latin typeface="Verdana" pitchFamily="34" charset="0"/>
        </a:defRPr>
      </a:lvl8pPr>
      <a:lvl9pPr marL="1828646" algn="l" rtl="0" fontAlgn="base">
        <a:lnSpc>
          <a:spcPct val="94000"/>
        </a:lnSpc>
        <a:spcBef>
          <a:spcPct val="0"/>
        </a:spcBef>
        <a:spcAft>
          <a:spcPct val="0"/>
        </a:spcAft>
        <a:defRPr sz="2800">
          <a:solidFill>
            <a:schemeClr val="tx1"/>
          </a:solidFill>
          <a:latin typeface="Verdana" pitchFamily="34" charset="0"/>
        </a:defRPr>
      </a:lvl9pPr>
    </p:titleStyle>
    <p:bodyStyle>
      <a:lvl1pPr marL="206358" indent="-206358" algn="l" rtl="0" eaLnBrk="0" fontAlgn="base" hangingPunct="0">
        <a:lnSpc>
          <a:spcPct val="111000"/>
        </a:lnSpc>
        <a:spcBef>
          <a:spcPct val="20000"/>
        </a:spcBef>
        <a:spcAft>
          <a:spcPct val="0"/>
        </a:spcAft>
        <a:buClr>
          <a:srgbClr val="69B8D6"/>
        </a:buClr>
        <a:buChar char="•"/>
        <a:defRPr>
          <a:solidFill>
            <a:schemeClr val="tx1"/>
          </a:solidFill>
          <a:latin typeface="+mn-lt"/>
          <a:ea typeface="+mn-ea"/>
          <a:cs typeface="+mn-cs"/>
        </a:defRPr>
      </a:lvl1pPr>
      <a:lvl2pPr marL="420652" indent="-212707" algn="l" rtl="0" eaLnBrk="0" fontAlgn="base" hangingPunct="0">
        <a:lnSpc>
          <a:spcPts val="2600"/>
        </a:lnSpc>
        <a:spcBef>
          <a:spcPct val="20000"/>
        </a:spcBef>
        <a:spcAft>
          <a:spcPct val="0"/>
        </a:spcAft>
        <a:buClr>
          <a:srgbClr val="69B8D6"/>
        </a:buClr>
        <a:buChar char="•"/>
        <a:defRPr sz="1400">
          <a:solidFill>
            <a:schemeClr val="tx1"/>
          </a:solidFill>
          <a:latin typeface="+mn-lt"/>
        </a:defRPr>
      </a:lvl2pPr>
      <a:lvl3pPr marL="641296" indent="-219056" algn="l" rtl="0" eaLnBrk="0" fontAlgn="base" hangingPunct="0">
        <a:lnSpc>
          <a:spcPct val="125000"/>
        </a:lnSpc>
        <a:spcBef>
          <a:spcPct val="20000"/>
        </a:spcBef>
        <a:spcAft>
          <a:spcPct val="0"/>
        </a:spcAft>
        <a:buClr>
          <a:srgbClr val="69B8D6"/>
        </a:buClr>
        <a:buChar char="•"/>
        <a:defRPr sz="1200">
          <a:solidFill>
            <a:schemeClr val="tx1"/>
          </a:solidFill>
          <a:latin typeface="+mn-lt"/>
        </a:defRPr>
      </a:lvl3pPr>
      <a:lvl4pPr marL="855591" indent="-212707" algn="l" rtl="0" eaLnBrk="0" fontAlgn="base" hangingPunct="0">
        <a:lnSpc>
          <a:spcPct val="119000"/>
        </a:lnSpc>
        <a:spcBef>
          <a:spcPct val="20000"/>
        </a:spcBef>
        <a:spcAft>
          <a:spcPct val="0"/>
        </a:spcAft>
        <a:buClr>
          <a:srgbClr val="69B8D6"/>
        </a:buClr>
        <a:buChar char="•"/>
        <a:defRPr sz="1000">
          <a:solidFill>
            <a:schemeClr val="tx1"/>
          </a:solidFill>
          <a:latin typeface="+mn-lt"/>
        </a:defRPr>
      </a:lvl4pPr>
      <a:lvl5pPr marL="1069885" indent="-212707" algn="l" rtl="0" eaLnBrk="0" fontAlgn="base" hangingPunct="0">
        <a:lnSpc>
          <a:spcPct val="125000"/>
        </a:lnSpc>
        <a:spcBef>
          <a:spcPct val="20000"/>
        </a:spcBef>
        <a:spcAft>
          <a:spcPct val="0"/>
        </a:spcAft>
        <a:buClr>
          <a:srgbClr val="69B8D6"/>
        </a:buClr>
        <a:buChar char="•"/>
        <a:defRPr sz="800">
          <a:solidFill>
            <a:schemeClr val="tx1"/>
          </a:solidFill>
          <a:latin typeface="+mn-lt"/>
        </a:defRPr>
      </a:lvl5pPr>
      <a:lvl6pPr marL="1527046" indent="-212707" algn="l" rtl="0" fontAlgn="base">
        <a:lnSpc>
          <a:spcPct val="125000"/>
        </a:lnSpc>
        <a:spcBef>
          <a:spcPct val="20000"/>
        </a:spcBef>
        <a:spcAft>
          <a:spcPct val="0"/>
        </a:spcAft>
        <a:buClr>
          <a:srgbClr val="69B8D6"/>
        </a:buClr>
        <a:buChar char="•"/>
        <a:defRPr sz="800">
          <a:solidFill>
            <a:schemeClr val="tx1"/>
          </a:solidFill>
          <a:latin typeface="+mn-lt"/>
        </a:defRPr>
      </a:lvl6pPr>
      <a:lvl7pPr marL="1984208" indent="-212707" algn="l" rtl="0" fontAlgn="base">
        <a:lnSpc>
          <a:spcPct val="125000"/>
        </a:lnSpc>
        <a:spcBef>
          <a:spcPct val="20000"/>
        </a:spcBef>
        <a:spcAft>
          <a:spcPct val="0"/>
        </a:spcAft>
        <a:buClr>
          <a:srgbClr val="69B8D6"/>
        </a:buClr>
        <a:buChar char="•"/>
        <a:defRPr sz="800">
          <a:solidFill>
            <a:schemeClr val="tx1"/>
          </a:solidFill>
          <a:latin typeface="+mn-lt"/>
        </a:defRPr>
      </a:lvl7pPr>
      <a:lvl8pPr marL="2441370" indent="-212707" algn="l" rtl="0" fontAlgn="base">
        <a:lnSpc>
          <a:spcPct val="125000"/>
        </a:lnSpc>
        <a:spcBef>
          <a:spcPct val="20000"/>
        </a:spcBef>
        <a:spcAft>
          <a:spcPct val="0"/>
        </a:spcAft>
        <a:buClr>
          <a:srgbClr val="69B8D6"/>
        </a:buClr>
        <a:buChar char="•"/>
        <a:defRPr sz="800">
          <a:solidFill>
            <a:schemeClr val="tx1"/>
          </a:solidFill>
          <a:latin typeface="+mn-lt"/>
        </a:defRPr>
      </a:lvl8pPr>
      <a:lvl9pPr marL="2898531" indent="-212707" algn="l" rtl="0" fontAlgn="base">
        <a:lnSpc>
          <a:spcPct val="125000"/>
        </a:lnSpc>
        <a:spcBef>
          <a:spcPct val="20000"/>
        </a:spcBef>
        <a:spcAft>
          <a:spcPct val="0"/>
        </a:spcAft>
        <a:buClr>
          <a:srgbClr val="69B8D6"/>
        </a:buClr>
        <a:buChar char="•"/>
        <a:defRPr sz="800">
          <a:solidFill>
            <a:schemeClr val="tx1"/>
          </a:solidFill>
          <a:latin typeface="+mn-lt"/>
        </a:defRPr>
      </a:lvl9pPr>
    </p:bodyStyle>
    <p:otherStyle>
      <a:defPPr>
        <a:defRPr lang="en-US"/>
      </a:defPPr>
      <a:lvl1pPr marL="0" algn="l" defTabSz="914323" rtl="0" eaLnBrk="1" latinLnBrk="0" hangingPunct="1">
        <a:defRPr sz="1800" kern="1200">
          <a:solidFill>
            <a:schemeClr val="tx1"/>
          </a:solidFill>
          <a:latin typeface="+mn-lt"/>
          <a:ea typeface="+mn-ea"/>
          <a:cs typeface="+mn-cs"/>
        </a:defRPr>
      </a:lvl1pPr>
      <a:lvl2pPr marL="457162" algn="l" defTabSz="914323" rtl="0" eaLnBrk="1" latinLnBrk="0" hangingPunct="1">
        <a:defRPr sz="1800" kern="1200">
          <a:solidFill>
            <a:schemeClr val="tx1"/>
          </a:solidFill>
          <a:latin typeface="+mn-lt"/>
          <a:ea typeface="+mn-ea"/>
          <a:cs typeface="+mn-cs"/>
        </a:defRPr>
      </a:lvl2pPr>
      <a:lvl3pPr marL="914323" algn="l" defTabSz="914323" rtl="0" eaLnBrk="1" latinLnBrk="0" hangingPunct="1">
        <a:defRPr sz="1800" kern="1200">
          <a:solidFill>
            <a:schemeClr val="tx1"/>
          </a:solidFill>
          <a:latin typeface="+mn-lt"/>
          <a:ea typeface="+mn-ea"/>
          <a:cs typeface="+mn-cs"/>
        </a:defRPr>
      </a:lvl3pPr>
      <a:lvl4pPr marL="1371485" algn="l" defTabSz="914323" rtl="0" eaLnBrk="1" latinLnBrk="0" hangingPunct="1">
        <a:defRPr sz="1800" kern="1200">
          <a:solidFill>
            <a:schemeClr val="tx1"/>
          </a:solidFill>
          <a:latin typeface="+mn-lt"/>
          <a:ea typeface="+mn-ea"/>
          <a:cs typeface="+mn-cs"/>
        </a:defRPr>
      </a:lvl4pPr>
      <a:lvl5pPr marL="1828646" algn="l" defTabSz="914323" rtl="0" eaLnBrk="1" latinLnBrk="0" hangingPunct="1">
        <a:defRPr sz="1800" kern="1200">
          <a:solidFill>
            <a:schemeClr val="tx1"/>
          </a:solidFill>
          <a:latin typeface="+mn-lt"/>
          <a:ea typeface="+mn-ea"/>
          <a:cs typeface="+mn-cs"/>
        </a:defRPr>
      </a:lvl5pPr>
      <a:lvl6pPr marL="2285807" algn="l" defTabSz="914323" rtl="0" eaLnBrk="1" latinLnBrk="0" hangingPunct="1">
        <a:defRPr sz="1800" kern="1200">
          <a:solidFill>
            <a:schemeClr val="tx1"/>
          </a:solidFill>
          <a:latin typeface="+mn-lt"/>
          <a:ea typeface="+mn-ea"/>
          <a:cs typeface="+mn-cs"/>
        </a:defRPr>
      </a:lvl6pPr>
      <a:lvl7pPr marL="2742969" algn="l" defTabSz="914323" rtl="0" eaLnBrk="1" latinLnBrk="0" hangingPunct="1">
        <a:defRPr sz="1800" kern="1200">
          <a:solidFill>
            <a:schemeClr val="tx1"/>
          </a:solidFill>
          <a:latin typeface="+mn-lt"/>
          <a:ea typeface="+mn-ea"/>
          <a:cs typeface="+mn-cs"/>
        </a:defRPr>
      </a:lvl7pPr>
      <a:lvl8pPr marL="3200131" algn="l" defTabSz="914323" rtl="0" eaLnBrk="1" latinLnBrk="0" hangingPunct="1">
        <a:defRPr sz="1800" kern="1200">
          <a:solidFill>
            <a:schemeClr val="tx1"/>
          </a:solidFill>
          <a:latin typeface="+mn-lt"/>
          <a:ea typeface="+mn-ea"/>
          <a:cs typeface="+mn-cs"/>
        </a:defRPr>
      </a:lvl8pPr>
      <a:lvl9pPr marL="3657292" algn="l" defTabSz="91432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0.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26" Type="http://schemas.openxmlformats.org/officeDocument/2006/relationships/tags" Target="../tags/tag35.xml"/><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47" Type="http://schemas.openxmlformats.org/officeDocument/2006/relationships/tags" Target="../tags/tag56.xml"/><Relationship Id="rId63" Type="http://schemas.openxmlformats.org/officeDocument/2006/relationships/tags" Target="../tags/tag72.xml"/><Relationship Id="rId68" Type="http://schemas.openxmlformats.org/officeDocument/2006/relationships/tags" Target="../tags/tag77.xml"/><Relationship Id="rId84" Type="http://schemas.openxmlformats.org/officeDocument/2006/relationships/tags" Target="../tags/tag93.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38" Type="http://schemas.openxmlformats.org/officeDocument/2006/relationships/tags" Target="../tags/tag147.xml"/><Relationship Id="rId16" Type="http://schemas.openxmlformats.org/officeDocument/2006/relationships/tags" Target="../tags/tag25.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37" Type="http://schemas.openxmlformats.org/officeDocument/2006/relationships/tags" Target="../tags/tag46.xml"/><Relationship Id="rId53" Type="http://schemas.openxmlformats.org/officeDocument/2006/relationships/tags" Target="../tags/tag62.xml"/><Relationship Id="rId58" Type="http://schemas.openxmlformats.org/officeDocument/2006/relationships/tags" Target="../tags/tag67.xml"/><Relationship Id="rId74" Type="http://schemas.openxmlformats.org/officeDocument/2006/relationships/tags" Target="../tags/tag83.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28" Type="http://schemas.openxmlformats.org/officeDocument/2006/relationships/tags" Target="../tags/tag137.xml"/><Relationship Id="rId144" Type="http://schemas.openxmlformats.org/officeDocument/2006/relationships/notesSlide" Target="../notesSlides/notesSlide11.xml"/><Relationship Id="rId149" Type="http://schemas.openxmlformats.org/officeDocument/2006/relationships/image" Target="../media/image31.emf"/><Relationship Id="rId5" Type="http://schemas.openxmlformats.org/officeDocument/2006/relationships/tags" Target="../tags/tag14.xml"/><Relationship Id="rId90" Type="http://schemas.openxmlformats.org/officeDocument/2006/relationships/tags" Target="../tags/tag99.xml"/><Relationship Id="rId95" Type="http://schemas.openxmlformats.org/officeDocument/2006/relationships/tags" Target="../tags/tag104.xml"/><Relationship Id="rId22" Type="http://schemas.openxmlformats.org/officeDocument/2006/relationships/tags" Target="../tags/tag31.xml"/><Relationship Id="rId27" Type="http://schemas.openxmlformats.org/officeDocument/2006/relationships/tags" Target="../tags/tag36.xml"/><Relationship Id="rId43" Type="http://schemas.openxmlformats.org/officeDocument/2006/relationships/tags" Target="../tags/tag52.xml"/><Relationship Id="rId48" Type="http://schemas.openxmlformats.org/officeDocument/2006/relationships/tags" Target="../tags/tag57.xml"/><Relationship Id="rId64" Type="http://schemas.openxmlformats.org/officeDocument/2006/relationships/tags" Target="../tags/tag73.xml"/><Relationship Id="rId69" Type="http://schemas.openxmlformats.org/officeDocument/2006/relationships/tags" Target="../tags/tag78.xml"/><Relationship Id="rId113" Type="http://schemas.openxmlformats.org/officeDocument/2006/relationships/tags" Target="../tags/tag122.xml"/><Relationship Id="rId118" Type="http://schemas.openxmlformats.org/officeDocument/2006/relationships/tags" Target="../tags/tag127.xml"/><Relationship Id="rId134" Type="http://schemas.openxmlformats.org/officeDocument/2006/relationships/tags" Target="../tags/tag143.xml"/><Relationship Id="rId139" Type="http://schemas.openxmlformats.org/officeDocument/2006/relationships/tags" Target="../tags/tag148.xml"/><Relationship Id="rId80" Type="http://schemas.openxmlformats.org/officeDocument/2006/relationships/tags" Target="../tags/tag89.xml"/><Relationship Id="rId85" Type="http://schemas.openxmlformats.org/officeDocument/2006/relationships/tags" Target="../tags/tag94.xml"/><Relationship Id="rId150" Type="http://schemas.openxmlformats.org/officeDocument/2006/relationships/image" Target="../media/image32.emf"/><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tags" Target="../tags/tag68.xml"/><Relationship Id="rId67" Type="http://schemas.openxmlformats.org/officeDocument/2006/relationships/tags" Target="../tags/tag76.xml"/><Relationship Id="rId103" Type="http://schemas.openxmlformats.org/officeDocument/2006/relationships/tags" Target="../tags/tag112.xml"/><Relationship Id="rId108" Type="http://schemas.openxmlformats.org/officeDocument/2006/relationships/tags" Target="../tags/tag117.xml"/><Relationship Id="rId116" Type="http://schemas.openxmlformats.org/officeDocument/2006/relationships/tags" Target="../tags/tag125.xml"/><Relationship Id="rId124" Type="http://schemas.openxmlformats.org/officeDocument/2006/relationships/tags" Target="../tags/tag133.xml"/><Relationship Id="rId129" Type="http://schemas.openxmlformats.org/officeDocument/2006/relationships/tags" Target="../tags/tag138.xml"/><Relationship Id="rId137" Type="http://schemas.openxmlformats.org/officeDocument/2006/relationships/tags" Target="../tags/tag146.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tags" Target="../tags/tag71.xml"/><Relationship Id="rId70" Type="http://schemas.openxmlformats.org/officeDocument/2006/relationships/tags" Target="../tags/tag79.xml"/><Relationship Id="rId75" Type="http://schemas.openxmlformats.org/officeDocument/2006/relationships/tags" Target="../tags/tag84.xml"/><Relationship Id="rId83" Type="http://schemas.openxmlformats.org/officeDocument/2006/relationships/tags" Target="../tags/tag92.xml"/><Relationship Id="rId88" Type="http://schemas.openxmlformats.org/officeDocument/2006/relationships/tags" Target="../tags/tag97.xml"/><Relationship Id="rId91" Type="http://schemas.openxmlformats.org/officeDocument/2006/relationships/tags" Target="../tags/tag100.xml"/><Relationship Id="rId96" Type="http://schemas.openxmlformats.org/officeDocument/2006/relationships/tags" Target="../tags/tag105.xml"/><Relationship Id="rId111" Type="http://schemas.openxmlformats.org/officeDocument/2006/relationships/tags" Target="../tags/tag120.xml"/><Relationship Id="rId132" Type="http://schemas.openxmlformats.org/officeDocument/2006/relationships/tags" Target="../tags/tag141.xml"/><Relationship Id="rId140" Type="http://schemas.openxmlformats.org/officeDocument/2006/relationships/tags" Target="../tags/tag149.xml"/><Relationship Id="rId145"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tags" Target="../tags/tag66.xml"/><Relationship Id="rId106" Type="http://schemas.openxmlformats.org/officeDocument/2006/relationships/tags" Target="../tags/tag115.xml"/><Relationship Id="rId114" Type="http://schemas.openxmlformats.org/officeDocument/2006/relationships/tags" Target="../tags/tag123.xml"/><Relationship Id="rId119" Type="http://schemas.openxmlformats.org/officeDocument/2006/relationships/tags" Target="../tags/tag128.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tags" Target="../tags/tag69.xml"/><Relationship Id="rId65" Type="http://schemas.openxmlformats.org/officeDocument/2006/relationships/tags" Target="../tags/tag74.xml"/><Relationship Id="rId73" Type="http://schemas.openxmlformats.org/officeDocument/2006/relationships/tags" Target="../tags/tag82.xml"/><Relationship Id="rId78" Type="http://schemas.openxmlformats.org/officeDocument/2006/relationships/tags" Target="../tags/tag87.xml"/><Relationship Id="rId81" Type="http://schemas.openxmlformats.org/officeDocument/2006/relationships/tags" Target="../tags/tag90.xml"/><Relationship Id="rId86" Type="http://schemas.openxmlformats.org/officeDocument/2006/relationships/tags" Target="../tags/tag95.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30" Type="http://schemas.openxmlformats.org/officeDocument/2006/relationships/tags" Target="../tags/tag139.xml"/><Relationship Id="rId135" Type="http://schemas.openxmlformats.org/officeDocument/2006/relationships/tags" Target="../tags/tag144.xml"/><Relationship Id="rId143" Type="http://schemas.openxmlformats.org/officeDocument/2006/relationships/slideLayout" Target="../slideLayouts/slideLayout59.xml"/><Relationship Id="rId148" Type="http://schemas.openxmlformats.org/officeDocument/2006/relationships/image" Target="../media/image30.emf"/><Relationship Id="rId4" Type="http://schemas.openxmlformats.org/officeDocument/2006/relationships/tags" Target="../tags/tag13.xml"/><Relationship Id="rId9" Type="http://schemas.openxmlformats.org/officeDocument/2006/relationships/tags" Target="../tags/tag18.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141" Type="http://schemas.openxmlformats.org/officeDocument/2006/relationships/tags" Target="../tags/tag150.xml"/><Relationship Id="rId146" Type="http://schemas.openxmlformats.org/officeDocument/2006/relationships/chart" Target="../charts/chart1.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136" Type="http://schemas.openxmlformats.org/officeDocument/2006/relationships/tags" Target="../tags/tag145.xml"/><Relationship Id="rId61" Type="http://schemas.openxmlformats.org/officeDocument/2006/relationships/tags" Target="../tags/tag70.xml"/><Relationship Id="rId82" Type="http://schemas.openxmlformats.org/officeDocument/2006/relationships/tags" Target="../tags/tag91.xml"/><Relationship Id="rId19" Type="http://schemas.openxmlformats.org/officeDocument/2006/relationships/tags" Target="../tags/tag28.xml"/><Relationship Id="rId14" Type="http://schemas.openxmlformats.org/officeDocument/2006/relationships/tags" Target="../tags/tag23.xml"/><Relationship Id="rId30" Type="http://schemas.openxmlformats.org/officeDocument/2006/relationships/tags" Target="../tags/tag39.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oleObject" Target="../embeddings/oleObject10.bin"/><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s>
</file>

<file path=ppt/slides/_rels/slide1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3.xml"/><Relationship Id="rId1" Type="http://schemas.openxmlformats.org/officeDocument/2006/relationships/slideLayout" Target="../slideLayouts/slideLayout25.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5.xml"/><Relationship Id="rId5" Type="http://schemas.openxmlformats.org/officeDocument/2006/relationships/image" Target="../media/image3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2.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128.xml"/></Relationships>
</file>

<file path=ppt/slides/_rels/slide1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7.xml"/><Relationship Id="rId1" Type="http://schemas.openxmlformats.org/officeDocument/2006/relationships/slideLayout" Target="../slideLayouts/slideLayout128.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jpeg"/><Relationship Id="rId4" Type="http://schemas.openxmlformats.org/officeDocument/2006/relationships/image" Target="../media/image11.png"/><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7.wmf"/><Relationship Id="rId5" Type="http://schemas.openxmlformats.org/officeDocument/2006/relationships/image" Target="../media/image4.wmf"/><Relationship Id="rId4" Type="http://schemas.openxmlformats.org/officeDocument/2006/relationships/image" Target="../media/image19.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hemeOverride" Target="../theme/themeOverride6.xml"/><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86.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rotWithShape="1">
          <a:blip r:embed="rId4"/>
          <a:srcRect/>
          <a:stretch/>
        </p:blipFill>
        <p:spPr>
          <a:xfrm>
            <a:off x="3352800" y="9858"/>
            <a:ext cx="8096080" cy="6253161"/>
          </a:xfrm>
          <a:prstGeom prst="rect">
            <a:avLst/>
          </a:prstGeom>
        </p:spPr>
      </p:pic>
      <p:sp>
        <p:nvSpPr>
          <p:cNvPr id="8" name="Rectangle 7"/>
          <p:cNvSpPr/>
          <p:nvPr/>
        </p:nvSpPr>
        <p:spPr>
          <a:xfrm>
            <a:off x="454925" y="3524164"/>
            <a:ext cx="6684912" cy="2588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spcBef>
                <a:spcPts val="80"/>
              </a:spcBef>
              <a:spcAft>
                <a:spcPts val="800"/>
              </a:spcAft>
            </a:pPr>
            <a:r>
              <a:rPr lang="en-GB" sz="3200" cap="all" dirty="0" smtClean="0">
                <a:solidFill>
                  <a:srgbClr val="FFFFFF"/>
                </a:solidFill>
                <a:latin typeface="Zetta Serif Bold" panose="02060803080000020004" pitchFamily="18" charset="0"/>
                <a:cs typeface="Zetta Serif Bold"/>
              </a:rPr>
              <a:t>Reducing </a:t>
            </a:r>
            <a:r>
              <a:rPr lang="en-GB" sz="3200" cap="all" dirty="0" smtClean="0">
                <a:solidFill>
                  <a:srgbClr val="FFFFFF"/>
                </a:solidFill>
                <a:latin typeface="Zetta Serif Bold" panose="02060803080000020004" pitchFamily="18" charset="0"/>
                <a:cs typeface="Zetta Serif Bold"/>
              </a:rPr>
              <a:t>supply </a:t>
            </a:r>
            <a:r>
              <a:rPr lang="en-GB" sz="3200" cap="all" dirty="0" smtClean="0">
                <a:solidFill>
                  <a:srgbClr val="FFFFFF"/>
                </a:solidFill>
                <a:latin typeface="Zetta Serif Bold" panose="02060803080000020004" pitchFamily="18" charset="0"/>
                <a:cs typeface="Zetta Serif Bold"/>
              </a:rPr>
              <a:t>chain </a:t>
            </a:r>
            <a:r>
              <a:rPr lang="en-GB" sz="3200" cap="all" dirty="0" smtClean="0">
                <a:solidFill>
                  <a:srgbClr val="FFFFFF"/>
                </a:solidFill>
                <a:latin typeface="Zetta Serif Bold" panose="02060803080000020004" pitchFamily="18" charset="0"/>
                <a:cs typeface="Zetta Serif Bold"/>
              </a:rPr>
              <a:t>emissions – Ocean </a:t>
            </a:r>
            <a:endParaRPr lang="en-GB" sz="3200" cap="all" dirty="0" smtClean="0">
              <a:solidFill>
                <a:srgbClr val="FFFFFF"/>
              </a:solidFill>
              <a:latin typeface="Zetta Serif Bold" panose="02060803080000020004" pitchFamily="18" charset="0"/>
              <a:cs typeface="Zetta Serif Bold"/>
            </a:endParaRPr>
          </a:p>
          <a:p>
            <a:pPr>
              <a:spcBef>
                <a:spcPts val="80"/>
              </a:spcBef>
              <a:spcAft>
                <a:spcPts val="800"/>
              </a:spcAft>
            </a:pPr>
            <a:endParaRPr lang="en-GB" sz="2400" cap="all" dirty="0" smtClean="0">
              <a:solidFill>
                <a:srgbClr val="FFFFFF"/>
              </a:solidFill>
              <a:latin typeface="Zetta Serif Bold" panose="02060803080000020004" pitchFamily="18" charset="0"/>
              <a:cs typeface="Zetta Serif Bold"/>
            </a:endParaRPr>
          </a:p>
          <a:p>
            <a:pPr>
              <a:spcBef>
                <a:spcPts val="80"/>
              </a:spcBef>
              <a:spcAft>
                <a:spcPts val="800"/>
              </a:spcAft>
            </a:pPr>
            <a:r>
              <a:rPr lang="en-GB" sz="2000" dirty="0" smtClean="0">
                <a:solidFill>
                  <a:srgbClr val="FFFFFF"/>
                </a:solidFill>
                <a:latin typeface="Zetta Serif Bold" panose="02060803080000020004" pitchFamily="18" charset="0"/>
                <a:cs typeface="Zetta Serif Bold"/>
              </a:rPr>
              <a:t>Lee Kindberg</a:t>
            </a:r>
          </a:p>
          <a:p>
            <a:pPr>
              <a:spcBef>
                <a:spcPts val="80"/>
              </a:spcBef>
              <a:spcAft>
                <a:spcPts val="800"/>
              </a:spcAft>
            </a:pPr>
            <a:r>
              <a:rPr lang="en-GB" sz="2000" dirty="0" smtClean="0">
                <a:solidFill>
                  <a:srgbClr val="FFFFFF"/>
                </a:solidFill>
                <a:latin typeface="Zetta Serif Bold" panose="02060803080000020004" pitchFamily="18" charset="0"/>
                <a:cs typeface="Zetta Serif Bold"/>
              </a:rPr>
              <a:t>Maersk Line North America</a:t>
            </a:r>
            <a:endParaRPr lang="en-GB" sz="2000" dirty="0">
              <a:solidFill>
                <a:srgbClr val="FFFFFF"/>
              </a:solidFill>
              <a:latin typeface="Zetta Serif Bold" panose="02060803080000020004" pitchFamily="18" charset="0"/>
              <a:cs typeface="Zetta Serif Bold"/>
            </a:endParaRPr>
          </a:p>
        </p:txBody>
      </p:sp>
      <p:cxnSp>
        <p:nvCxnSpPr>
          <p:cNvPr id="9" name="Straight Connector 8"/>
          <p:cNvCxnSpPr/>
          <p:nvPr/>
        </p:nvCxnSpPr>
        <p:spPr>
          <a:xfrm>
            <a:off x="562115" y="3519814"/>
            <a:ext cx="4848085" cy="0"/>
          </a:xfrm>
          <a:prstGeom prst="line">
            <a:avLst/>
          </a:prstGeom>
          <a:ln w="57150">
            <a:solidFill>
              <a:srgbClr val="000000"/>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686474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Buffalo in dock 24-11-2012_2.JPG"/>
          <p:cNvPicPr>
            <a:picLocks noChangeAspect="1"/>
          </p:cNvPicPr>
          <p:nvPr/>
        </p:nvPicPr>
        <p:blipFill rotWithShape="1">
          <a:blip r:embed="rId3" cstate="print"/>
          <a:srcRect t="182" r="5303" b="26682"/>
          <a:stretch/>
        </p:blipFill>
        <p:spPr>
          <a:xfrm>
            <a:off x="152400" y="141894"/>
            <a:ext cx="11906250" cy="6575425"/>
          </a:xfrm>
          <a:prstGeom prst="rect">
            <a:avLst/>
          </a:prstGeom>
        </p:spPr>
      </p:pic>
      <p:sp>
        <p:nvSpPr>
          <p:cNvPr id="7" name="Tekstboks 1"/>
          <p:cNvSpPr txBox="1">
            <a:spLocks/>
          </p:cNvSpPr>
          <p:nvPr/>
        </p:nvSpPr>
        <p:spPr>
          <a:xfrm>
            <a:off x="350750" y="153157"/>
            <a:ext cx="4337364" cy="2742443"/>
          </a:xfrm>
          <a:prstGeom prst="rect">
            <a:avLst/>
          </a:prstGeom>
          <a:noFill/>
        </p:spPr>
        <p:txBody>
          <a:bodyPr wrap="square" rtlCol="0" anchor="ctr">
            <a:noAutofit/>
          </a:bodyPr>
          <a:lstStyle/>
          <a:p>
            <a:r>
              <a:rPr lang="en-GB" sz="3200" dirty="0" smtClean="0">
                <a:solidFill>
                  <a:srgbClr val="000000"/>
                </a:solidFill>
                <a:cs typeface="Zetta Serif Light"/>
              </a:rPr>
              <a:t>Extreme </a:t>
            </a:r>
            <a:r>
              <a:rPr lang="en-GB" sz="3200" dirty="0">
                <a:solidFill>
                  <a:srgbClr val="000000"/>
                </a:solidFill>
                <a:cs typeface="Zetta Serif Light"/>
              </a:rPr>
              <a:t>Makeovers</a:t>
            </a:r>
            <a:br>
              <a:rPr lang="en-GB" sz="3200" dirty="0">
                <a:solidFill>
                  <a:srgbClr val="000000"/>
                </a:solidFill>
                <a:cs typeface="Zetta Serif Light"/>
              </a:rPr>
            </a:br>
            <a:r>
              <a:rPr lang="en-GB" sz="3200" dirty="0">
                <a:solidFill>
                  <a:srgbClr val="000000"/>
                </a:solidFill>
                <a:cs typeface="Zetta Serif Light"/>
              </a:rPr>
              <a:t>for our existing Fleet</a:t>
            </a:r>
          </a:p>
        </p:txBody>
      </p:sp>
    </p:spTree>
    <p:extLst>
      <p:ext uri="{BB962C8B-B14F-4D97-AF65-F5344CB8AC3E}">
        <p14:creationId xmlns:p14="http://schemas.microsoft.com/office/powerpoint/2010/main" val="14589332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Rectangle 2" hidden="1"/>
          <p:cNvGraphicFramePr>
            <a:graphicFrameLocks/>
          </p:cNvGraphicFramePr>
          <p:nvPr>
            <p:custDataLst>
              <p:tags r:id="rId2"/>
            </p:custDataLst>
          </p:nvPr>
        </p:nvGraphicFramePr>
        <p:xfrm>
          <a:off x="1528764" y="0"/>
          <a:ext cx="149225" cy="158750"/>
        </p:xfrm>
        <a:graphic>
          <a:graphicData uri="http://schemas.openxmlformats.org/presentationml/2006/ole">
            <mc:AlternateContent xmlns:mc="http://schemas.openxmlformats.org/markup-compatibility/2006">
              <mc:Choice xmlns:v="urn:schemas-microsoft-com:vml" Requires="v">
                <p:oleObj spid="_x0000_s9328" name="think-cell Slide" r:id="rId145" imgW="0" imgH="0" progId="">
                  <p:embed/>
                </p:oleObj>
              </mc:Choice>
              <mc:Fallback>
                <p:oleObj name="think-cell Slide" r:id="rId14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8764" y="0"/>
                        <a:ext cx="1492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25" name="Rectangle 824" hidden="1"/>
          <p:cNvSpPr/>
          <p:nvPr>
            <p:custDataLst>
              <p:tags r:id="rId3"/>
            </p:custDataLst>
          </p:nvPr>
        </p:nvSpPr>
        <p:spPr bwMode="auto">
          <a:xfrm>
            <a:off x="152400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pPr>
            <a:endParaRPr lang="en-US" sz="1200" dirty="0">
              <a:solidFill>
                <a:srgbClr val="FFFFFF"/>
              </a:solidFill>
              <a:cs typeface="Arial"/>
              <a:sym typeface="Verdana"/>
            </a:endParaRPr>
          </a:p>
        </p:txBody>
      </p:sp>
      <p:sp>
        <p:nvSpPr>
          <p:cNvPr id="24580" name="Rectangle 4"/>
          <p:cNvSpPr>
            <a:spLocks noGrp="1" noChangeArrowheads="1"/>
          </p:cNvSpPr>
          <p:nvPr>
            <p:ph type="title"/>
            <p:custDataLst>
              <p:tags r:id="rId4"/>
            </p:custDataLst>
          </p:nvPr>
        </p:nvSpPr>
        <p:spPr>
          <a:xfrm>
            <a:off x="901873" y="499153"/>
            <a:ext cx="10509337" cy="923330"/>
          </a:xfrm>
        </p:spPr>
        <p:txBody>
          <a:bodyPr/>
          <a:lstStyle/>
          <a:p>
            <a:r>
              <a:rPr lang="en-GB" sz="3200" dirty="0" smtClean="0">
                <a:latin typeface="+mn-lt"/>
              </a:rPr>
              <a:t>Terminal Efficiency</a:t>
            </a:r>
            <a:r>
              <a:rPr lang="en-GB" sz="2000" dirty="0">
                <a:latin typeface="+mn-lt"/>
              </a:rPr>
              <a:t/>
            </a:r>
            <a:br>
              <a:rPr lang="en-GB" sz="2000" dirty="0">
                <a:latin typeface="+mn-lt"/>
              </a:rPr>
            </a:br>
            <a:r>
              <a:rPr lang="en-GB" sz="2000" i="1" dirty="0" smtClean="0">
                <a:solidFill>
                  <a:srgbClr val="0070C0"/>
                </a:solidFill>
                <a:latin typeface="+mn-lt"/>
              </a:rPr>
              <a:t>Working </a:t>
            </a:r>
            <a:r>
              <a:rPr lang="en-GB" sz="2000" i="1" dirty="0">
                <a:solidFill>
                  <a:srgbClr val="0070C0"/>
                </a:solidFill>
                <a:latin typeface="+mn-lt"/>
              </a:rPr>
              <a:t>with terminals to reduce port stays through process improvements</a:t>
            </a:r>
            <a:endParaRPr lang="en-US" sz="1800" i="1" dirty="0">
              <a:solidFill>
                <a:srgbClr val="0070C0"/>
              </a:solidFill>
              <a:latin typeface="+mn-lt"/>
            </a:endParaRPr>
          </a:p>
        </p:txBody>
      </p:sp>
      <p:grpSp>
        <p:nvGrpSpPr>
          <p:cNvPr id="290" name="Group 289"/>
          <p:cNvGrpSpPr/>
          <p:nvPr/>
        </p:nvGrpSpPr>
        <p:grpSpPr>
          <a:xfrm>
            <a:off x="1304898" y="1721830"/>
            <a:ext cx="3848234" cy="4590588"/>
            <a:chOff x="368482" y="1124744"/>
            <a:chExt cx="4213570" cy="5064346"/>
          </a:xfrm>
        </p:grpSpPr>
        <p:sp>
          <p:nvSpPr>
            <p:cNvPr id="24581" name="Arc 5" descr="Zig zag"/>
            <p:cNvSpPr>
              <a:spLocks/>
            </p:cNvSpPr>
            <p:nvPr>
              <p:custDataLst>
                <p:tags r:id="rId31"/>
              </p:custDataLst>
            </p:nvPr>
          </p:nvSpPr>
          <p:spPr bwMode="gray">
            <a:xfrm>
              <a:off x="493713" y="1354138"/>
              <a:ext cx="2028825" cy="4610100"/>
            </a:xfrm>
            <a:custGeom>
              <a:avLst/>
              <a:gdLst>
                <a:gd name="T0" fmla="*/ 2147483647 w 21645"/>
                <a:gd name="T1" fmla="*/ 0 h 43200"/>
                <a:gd name="T2" fmla="*/ 0 w 21645"/>
                <a:gd name="T3" fmla="*/ 2147483647 h 43200"/>
                <a:gd name="T4" fmla="*/ 2147483647 w 21645"/>
                <a:gd name="T5" fmla="*/ 2147483647 h 43200"/>
                <a:gd name="T6" fmla="*/ 0 60000 65536"/>
                <a:gd name="T7" fmla="*/ 0 60000 65536"/>
                <a:gd name="T8" fmla="*/ 0 60000 65536"/>
                <a:gd name="T9" fmla="*/ 0 w 21645"/>
                <a:gd name="T10" fmla="*/ 0 h 43200"/>
                <a:gd name="T11" fmla="*/ 21645 w 21645"/>
                <a:gd name="T12" fmla="*/ 43200 h 43200"/>
              </a:gdLst>
              <a:ahLst/>
              <a:cxnLst>
                <a:cxn ang="T6">
                  <a:pos x="T0" y="T1"/>
                </a:cxn>
                <a:cxn ang="T7">
                  <a:pos x="T2" y="T3"/>
                </a:cxn>
                <a:cxn ang="T8">
                  <a:pos x="T4" y="T5"/>
                </a:cxn>
              </a:cxnLst>
              <a:rect l="T9" t="T10" r="T11" b="T12"/>
              <a:pathLst>
                <a:path w="21645" h="43200" fill="none" extrusionOk="0">
                  <a:moveTo>
                    <a:pt x="44" y="0"/>
                  </a:moveTo>
                  <a:cubicBezTo>
                    <a:pt x="11974" y="0"/>
                    <a:pt x="21645" y="9670"/>
                    <a:pt x="21645" y="21600"/>
                  </a:cubicBezTo>
                  <a:cubicBezTo>
                    <a:pt x="21645" y="33529"/>
                    <a:pt x="11974" y="43200"/>
                    <a:pt x="45" y="43200"/>
                  </a:cubicBezTo>
                  <a:cubicBezTo>
                    <a:pt x="30" y="43200"/>
                    <a:pt x="15" y="43199"/>
                    <a:pt x="0" y="43199"/>
                  </a:cubicBezTo>
                </a:path>
                <a:path w="21645" h="43200" stroke="0" extrusionOk="0">
                  <a:moveTo>
                    <a:pt x="44" y="0"/>
                  </a:moveTo>
                  <a:cubicBezTo>
                    <a:pt x="11974" y="0"/>
                    <a:pt x="21645" y="9670"/>
                    <a:pt x="21645" y="21600"/>
                  </a:cubicBezTo>
                  <a:cubicBezTo>
                    <a:pt x="21645" y="33529"/>
                    <a:pt x="11974" y="43200"/>
                    <a:pt x="45" y="43200"/>
                  </a:cubicBezTo>
                  <a:cubicBezTo>
                    <a:pt x="30" y="43200"/>
                    <a:pt x="15" y="43199"/>
                    <a:pt x="0" y="43199"/>
                  </a:cubicBezTo>
                  <a:lnTo>
                    <a:pt x="45" y="21600"/>
                  </a:lnTo>
                  <a:close/>
                </a:path>
              </a:pathLst>
            </a:custGeom>
            <a:pattFill prst="zigZag">
              <a:fgClr>
                <a:schemeClr val="accent1"/>
              </a:fgClr>
              <a:bgClr>
                <a:schemeClr val="bg1"/>
              </a:bgClr>
            </a:pattFill>
            <a:ln w="38100">
              <a:noFill/>
              <a:round/>
              <a:headEnd/>
              <a:tailEnd/>
            </a:ln>
          </p:spPr>
          <p:txBody>
            <a:bodyPr wrap="none" anchor="ctr"/>
            <a:lstStyle/>
            <a:p>
              <a:pPr fontAlgn="base">
                <a:spcBef>
                  <a:spcPct val="0"/>
                </a:spcBef>
                <a:spcAft>
                  <a:spcPct val="0"/>
                </a:spcAft>
              </a:pPr>
              <a:endParaRPr lang="en-US" sz="1400" b="1" dirty="0">
                <a:solidFill>
                  <a:srgbClr val="000000"/>
                </a:solidFill>
              </a:endParaRPr>
            </a:p>
          </p:txBody>
        </p:sp>
        <p:sp>
          <p:nvSpPr>
            <p:cNvPr id="24582" name="Arc 6"/>
            <p:cNvSpPr>
              <a:spLocks/>
            </p:cNvSpPr>
            <p:nvPr>
              <p:custDataLst>
                <p:tags r:id="rId32"/>
              </p:custDataLst>
            </p:nvPr>
          </p:nvSpPr>
          <p:spPr bwMode="gray">
            <a:xfrm>
              <a:off x="650875" y="1358900"/>
              <a:ext cx="701675" cy="2305050"/>
            </a:xfrm>
            <a:custGeom>
              <a:avLst/>
              <a:gdLst>
                <a:gd name="T0" fmla="*/ 0 w 8061"/>
                <a:gd name="T1" fmla="*/ 0 h 21600"/>
                <a:gd name="T2" fmla="*/ 2147483647 w 8061"/>
                <a:gd name="T3" fmla="*/ 2147483647 h 21600"/>
                <a:gd name="T4" fmla="*/ 0 w 8061"/>
                <a:gd name="T5" fmla="*/ 2147483647 h 21600"/>
                <a:gd name="T6" fmla="*/ 0 60000 65536"/>
                <a:gd name="T7" fmla="*/ 0 60000 65536"/>
                <a:gd name="T8" fmla="*/ 0 60000 65536"/>
                <a:gd name="T9" fmla="*/ 0 w 8061"/>
                <a:gd name="T10" fmla="*/ 0 h 21600"/>
                <a:gd name="T11" fmla="*/ 8061 w 8061"/>
                <a:gd name="T12" fmla="*/ 21600 h 21600"/>
              </a:gdLst>
              <a:ahLst/>
              <a:cxnLst>
                <a:cxn ang="T6">
                  <a:pos x="T0" y="T1"/>
                </a:cxn>
                <a:cxn ang="T7">
                  <a:pos x="T2" y="T3"/>
                </a:cxn>
                <a:cxn ang="T8">
                  <a:pos x="T4" y="T5"/>
                </a:cxn>
              </a:cxnLst>
              <a:rect l="T9" t="T10" r="T11" b="T12"/>
              <a:pathLst>
                <a:path w="8061" h="21600" fill="none" extrusionOk="0">
                  <a:moveTo>
                    <a:pt x="-1" y="0"/>
                  </a:moveTo>
                  <a:cubicBezTo>
                    <a:pt x="2762" y="0"/>
                    <a:pt x="5498" y="529"/>
                    <a:pt x="8061" y="1560"/>
                  </a:cubicBezTo>
                </a:path>
                <a:path w="8061" h="21600" stroke="0" extrusionOk="0">
                  <a:moveTo>
                    <a:pt x="-1" y="0"/>
                  </a:moveTo>
                  <a:cubicBezTo>
                    <a:pt x="2762" y="0"/>
                    <a:pt x="5498" y="529"/>
                    <a:pt x="8061" y="1560"/>
                  </a:cubicBezTo>
                  <a:lnTo>
                    <a:pt x="0" y="21600"/>
                  </a:lnTo>
                  <a:close/>
                </a:path>
              </a:pathLst>
            </a:custGeom>
            <a:noFill/>
            <a:ln w="76200">
              <a:solidFill>
                <a:schemeClr val="accent1"/>
              </a:solidFill>
              <a:round/>
              <a:headEnd/>
              <a:tailEnd type="triangl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4583" name="Arc 7"/>
            <p:cNvSpPr>
              <a:spLocks/>
            </p:cNvSpPr>
            <p:nvPr>
              <p:custDataLst>
                <p:tags r:id="rId33"/>
              </p:custDataLst>
            </p:nvPr>
          </p:nvSpPr>
          <p:spPr bwMode="gray">
            <a:xfrm>
              <a:off x="652463" y="1679575"/>
              <a:ext cx="1262062" cy="1979613"/>
            </a:xfrm>
            <a:custGeom>
              <a:avLst/>
              <a:gdLst>
                <a:gd name="T0" fmla="*/ 2147483647 w 14511"/>
                <a:gd name="T1" fmla="*/ 0 h 18560"/>
                <a:gd name="T2" fmla="*/ 2147483647 w 14511"/>
                <a:gd name="T3" fmla="*/ 2147483647 h 18560"/>
                <a:gd name="T4" fmla="*/ 0 w 14511"/>
                <a:gd name="T5" fmla="*/ 2147483647 h 18560"/>
                <a:gd name="T6" fmla="*/ 0 60000 65536"/>
                <a:gd name="T7" fmla="*/ 0 60000 65536"/>
                <a:gd name="T8" fmla="*/ 0 60000 65536"/>
                <a:gd name="T9" fmla="*/ 0 w 14511"/>
                <a:gd name="T10" fmla="*/ 0 h 18560"/>
                <a:gd name="T11" fmla="*/ 14511 w 14511"/>
                <a:gd name="T12" fmla="*/ 18560 h 18560"/>
              </a:gdLst>
              <a:ahLst/>
              <a:cxnLst>
                <a:cxn ang="T6">
                  <a:pos x="T0" y="T1"/>
                </a:cxn>
                <a:cxn ang="T7">
                  <a:pos x="T2" y="T3"/>
                </a:cxn>
                <a:cxn ang="T8">
                  <a:pos x="T4" y="T5"/>
                </a:cxn>
              </a:cxnLst>
              <a:rect l="T9" t="T10" r="T11" b="T12"/>
              <a:pathLst>
                <a:path w="14511" h="18560" fill="none" extrusionOk="0">
                  <a:moveTo>
                    <a:pt x="11049" y="-1"/>
                  </a:moveTo>
                  <a:cubicBezTo>
                    <a:pt x="12285" y="735"/>
                    <a:pt x="13445" y="1593"/>
                    <a:pt x="14510" y="2560"/>
                  </a:cubicBezTo>
                </a:path>
                <a:path w="14511" h="18560" stroke="0" extrusionOk="0">
                  <a:moveTo>
                    <a:pt x="11049" y="-1"/>
                  </a:moveTo>
                  <a:cubicBezTo>
                    <a:pt x="12285" y="735"/>
                    <a:pt x="13445" y="1593"/>
                    <a:pt x="14510" y="2560"/>
                  </a:cubicBezTo>
                  <a:lnTo>
                    <a:pt x="0" y="18560"/>
                  </a:lnTo>
                  <a:close/>
                </a:path>
              </a:pathLst>
            </a:custGeom>
            <a:noFill/>
            <a:ln w="76200">
              <a:solidFill>
                <a:schemeClr val="accent1"/>
              </a:solidFill>
              <a:round/>
              <a:headEnd/>
              <a:tailEnd type="triangl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4584" name="Arc 8"/>
            <p:cNvSpPr>
              <a:spLocks/>
            </p:cNvSpPr>
            <p:nvPr>
              <p:custDataLst>
                <p:tags r:id="rId34"/>
              </p:custDataLst>
            </p:nvPr>
          </p:nvSpPr>
          <p:spPr bwMode="gray">
            <a:xfrm>
              <a:off x="652463" y="2157413"/>
              <a:ext cx="1590675" cy="1503362"/>
            </a:xfrm>
            <a:custGeom>
              <a:avLst/>
              <a:gdLst>
                <a:gd name="T0" fmla="*/ 2147483647 w 18299"/>
                <a:gd name="T1" fmla="*/ 0 h 14083"/>
                <a:gd name="T2" fmla="*/ 2147483647 w 18299"/>
                <a:gd name="T3" fmla="*/ 2147483647 h 14083"/>
                <a:gd name="T4" fmla="*/ 0 w 18299"/>
                <a:gd name="T5" fmla="*/ 2147483647 h 14083"/>
                <a:gd name="T6" fmla="*/ 0 60000 65536"/>
                <a:gd name="T7" fmla="*/ 0 60000 65536"/>
                <a:gd name="T8" fmla="*/ 0 60000 65536"/>
                <a:gd name="T9" fmla="*/ 0 w 18299"/>
                <a:gd name="T10" fmla="*/ 0 h 14083"/>
                <a:gd name="T11" fmla="*/ 18299 w 18299"/>
                <a:gd name="T12" fmla="*/ 14083 h 14083"/>
              </a:gdLst>
              <a:ahLst/>
              <a:cxnLst>
                <a:cxn ang="T6">
                  <a:pos x="T0" y="T1"/>
                </a:cxn>
                <a:cxn ang="T7">
                  <a:pos x="T2" y="T3"/>
                </a:cxn>
                <a:cxn ang="T8">
                  <a:pos x="T4" y="T5"/>
                </a:cxn>
              </a:cxnLst>
              <a:rect l="T9" t="T10" r="T11" b="T12"/>
              <a:pathLst>
                <a:path w="18299" h="14083" fill="none" extrusionOk="0">
                  <a:moveTo>
                    <a:pt x="16377" y="0"/>
                  </a:moveTo>
                  <a:cubicBezTo>
                    <a:pt x="17082" y="819"/>
                    <a:pt x="17724" y="1690"/>
                    <a:pt x="18298" y="2606"/>
                  </a:cubicBezTo>
                </a:path>
                <a:path w="18299" h="14083" stroke="0" extrusionOk="0">
                  <a:moveTo>
                    <a:pt x="16377" y="0"/>
                  </a:moveTo>
                  <a:cubicBezTo>
                    <a:pt x="17082" y="819"/>
                    <a:pt x="17724" y="1690"/>
                    <a:pt x="18298" y="2606"/>
                  </a:cubicBezTo>
                  <a:lnTo>
                    <a:pt x="0" y="14083"/>
                  </a:lnTo>
                  <a:close/>
                </a:path>
              </a:pathLst>
            </a:custGeom>
            <a:noFill/>
            <a:ln w="76200">
              <a:solidFill>
                <a:schemeClr val="accent1"/>
              </a:solidFill>
              <a:round/>
              <a:headEnd/>
              <a:tailEnd type="triangl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4585" name="Arc 9"/>
            <p:cNvSpPr>
              <a:spLocks/>
            </p:cNvSpPr>
            <p:nvPr>
              <p:custDataLst>
                <p:tags r:id="rId35"/>
              </p:custDataLst>
            </p:nvPr>
          </p:nvSpPr>
          <p:spPr bwMode="gray">
            <a:xfrm>
              <a:off x="652463" y="2687638"/>
              <a:ext cx="1878012" cy="1111250"/>
            </a:xfrm>
            <a:custGeom>
              <a:avLst/>
              <a:gdLst>
                <a:gd name="T0" fmla="*/ 2147483647 w 21600"/>
                <a:gd name="T1" fmla="*/ 0 h 10416"/>
                <a:gd name="T2" fmla="*/ 2147483647 w 21600"/>
                <a:gd name="T3" fmla="*/ 2147483647 h 10416"/>
                <a:gd name="T4" fmla="*/ 0 w 21600"/>
                <a:gd name="T5" fmla="*/ 2147483647 h 10416"/>
                <a:gd name="T6" fmla="*/ 0 60000 65536"/>
                <a:gd name="T7" fmla="*/ 0 60000 65536"/>
                <a:gd name="T8" fmla="*/ 0 60000 65536"/>
                <a:gd name="T9" fmla="*/ 0 w 21600"/>
                <a:gd name="T10" fmla="*/ 0 h 10416"/>
                <a:gd name="T11" fmla="*/ 21600 w 21600"/>
                <a:gd name="T12" fmla="*/ 10416 h 10416"/>
              </a:gdLst>
              <a:ahLst/>
              <a:cxnLst>
                <a:cxn ang="T6">
                  <a:pos x="T0" y="T1"/>
                </a:cxn>
                <a:cxn ang="T7">
                  <a:pos x="T2" y="T3"/>
                </a:cxn>
                <a:cxn ang="T8">
                  <a:pos x="T4" y="T5"/>
                </a:cxn>
              </a:cxnLst>
              <a:rect l="T9" t="T10" r="T11" b="T12"/>
              <a:pathLst>
                <a:path w="21600" h="10416" fill="none" extrusionOk="0">
                  <a:moveTo>
                    <a:pt x="19566" y="0"/>
                  </a:moveTo>
                  <a:cubicBezTo>
                    <a:pt x="20905" y="2864"/>
                    <a:pt x="21600" y="5987"/>
                    <a:pt x="21600" y="9149"/>
                  </a:cubicBezTo>
                  <a:cubicBezTo>
                    <a:pt x="21600" y="9571"/>
                    <a:pt x="21587" y="9994"/>
                    <a:pt x="21562" y="10415"/>
                  </a:cubicBezTo>
                </a:path>
                <a:path w="21600" h="10416" stroke="0" extrusionOk="0">
                  <a:moveTo>
                    <a:pt x="19566" y="0"/>
                  </a:moveTo>
                  <a:cubicBezTo>
                    <a:pt x="20905" y="2864"/>
                    <a:pt x="21600" y="5987"/>
                    <a:pt x="21600" y="9149"/>
                  </a:cubicBezTo>
                  <a:cubicBezTo>
                    <a:pt x="21600" y="9571"/>
                    <a:pt x="21587" y="9994"/>
                    <a:pt x="21562" y="10415"/>
                  </a:cubicBezTo>
                  <a:lnTo>
                    <a:pt x="0" y="9149"/>
                  </a:lnTo>
                  <a:close/>
                </a:path>
              </a:pathLst>
            </a:custGeom>
            <a:noFill/>
            <a:ln w="76200">
              <a:solidFill>
                <a:schemeClr val="accent1"/>
              </a:solidFill>
              <a:round/>
              <a:headEnd/>
              <a:tailEnd type="triangl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4586" name="Arc 10"/>
            <p:cNvSpPr>
              <a:spLocks/>
            </p:cNvSpPr>
            <p:nvPr>
              <p:custDataLst>
                <p:tags r:id="rId36"/>
              </p:custDataLst>
            </p:nvPr>
          </p:nvSpPr>
          <p:spPr bwMode="gray">
            <a:xfrm>
              <a:off x="652463" y="3659188"/>
              <a:ext cx="1841500" cy="942975"/>
            </a:xfrm>
            <a:custGeom>
              <a:avLst/>
              <a:gdLst>
                <a:gd name="T0" fmla="*/ 2147483647 w 21185"/>
                <a:gd name="T1" fmla="*/ 2147483647 h 8847"/>
                <a:gd name="T2" fmla="*/ 2147483647 w 21185"/>
                <a:gd name="T3" fmla="*/ 2147483647 h 8847"/>
                <a:gd name="T4" fmla="*/ 0 w 21185"/>
                <a:gd name="T5" fmla="*/ 0 h 8847"/>
                <a:gd name="T6" fmla="*/ 0 60000 65536"/>
                <a:gd name="T7" fmla="*/ 0 60000 65536"/>
                <a:gd name="T8" fmla="*/ 0 60000 65536"/>
                <a:gd name="T9" fmla="*/ 0 w 21185"/>
                <a:gd name="T10" fmla="*/ 0 h 8847"/>
                <a:gd name="T11" fmla="*/ 21185 w 21185"/>
                <a:gd name="T12" fmla="*/ 8847 h 8847"/>
              </a:gdLst>
              <a:ahLst/>
              <a:cxnLst>
                <a:cxn ang="T6">
                  <a:pos x="T0" y="T1"/>
                </a:cxn>
                <a:cxn ang="T7">
                  <a:pos x="T2" y="T3"/>
                </a:cxn>
                <a:cxn ang="T8">
                  <a:pos x="T4" y="T5"/>
                </a:cxn>
              </a:cxnLst>
              <a:rect l="T9" t="T10" r="T11" b="T12"/>
              <a:pathLst>
                <a:path w="21185" h="8847" fill="none" extrusionOk="0">
                  <a:moveTo>
                    <a:pt x="21185" y="4213"/>
                  </a:moveTo>
                  <a:cubicBezTo>
                    <a:pt x="20867" y="5808"/>
                    <a:pt x="20371" y="7363"/>
                    <a:pt x="19705" y="8847"/>
                  </a:cubicBezTo>
                </a:path>
                <a:path w="21185" h="8847" stroke="0" extrusionOk="0">
                  <a:moveTo>
                    <a:pt x="21185" y="4213"/>
                  </a:moveTo>
                  <a:cubicBezTo>
                    <a:pt x="20867" y="5808"/>
                    <a:pt x="20371" y="7363"/>
                    <a:pt x="19705" y="8847"/>
                  </a:cubicBezTo>
                  <a:lnTo>
                    <a:pt x="0" y="0"/>
                  </a:lnTo>
                  <a:close/>
                </a:path>
              </a:pathLst>
            </a:custGeom>
            <a:noFill/>
            <a:ln w="76200">
              <a:solidFill>
                <a:schemeClr val="accent1"/>
              </a:solidFill>
              <a:round/>
              <a:headEnd/>
              <a:tailEnd type="triangl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4587" name="Arc 11"/>
            <p:cNvSpPr>
              <a:spLocks/>
            </p:cNvSpPr>
            <p:nvPr>
              <p:custDataLst>
                <p:tags r:id="rId37"/>
              </p:custDataLst>
            </p:nvPr>
          </p:nvSpPr>
          <p:spPr bwMode="gray">
            <a:xfrm>
              <a:off x="654050" y="3659188"/>
              <a:ext cx="1539875" cy="1881187"/>
            </a:xfrm>
            <a:custGeom>
              <a:avLst/>
              <a:gdLst>
                <a:gd name="T0" fmla="*/ 2147483647 w 17724"/>
                <a:gd name="T1" fmla="*/ 2147483647 h 17634"/>
                <a:gd name="T2" fmla="*/ 2147483647 w 17724"/>
                <a:gd name="T3" fmla="*/ 2147483647 h 17634"/>
                <a:gd name="T4" fmla="*/ 0 w 17724"/>
                <a:gd name="T5" fmla="*/ 0 h 17634"/>
                <a:gd name="T6" fmla="*/ 0 60000 65536"/>
                <a:gd name="T7" fmla="*/ 0 60000 65536"/>
                <a:gd name="T8" fmla="*/ 0 60000 65536"/>
                <a:gd name="T9" fmla="*/ 0 w 17724"/>
                <a:gd name="T10" fmla="*/ 0 h 17634"/>
                <a:gd name="T11" fmla="*/ 17724 w 17724"/>
                <a:gd name="T12" fmla="*/ 17634 h 17634"/>
              </a:gdLst>
              <a:ahLst/>
              <a:cxnLst>
                <a:cxn ang="T6">
                  <a:pos x="T0" y="T1"/>
                </a:cxn>
                <a:cxn ang="T7">
                  <a:pos x="T2" y="T3"/>
                </a:cxn>
                <a:cxn ang="T8">
                  <a:pos x="T4" y="T5"/>
                </a:cxn>
              </a:cxnLst>
              <a:rect l="T9" t="T10" r="T11" b="T12"/>
              <a:pathLst>
                <a:path w="17724" h="17634" fill="none" extrusionOk="0">
                  <a:moveTo>
                    <a:pt x="17723" y="12345"/>
                  </a:moveTo>
                  <a:cubicBezTo>
                    <a:pt x="16293" y="14399"/>
                    <a:pt x="14517" y="16188"/>
                    <a:pt x="12474" y="17634"/>
                  </a:cubicBezTo>
                </a:path>
                <a:path w="17724" h="17634" stroke="0" extrusionOk="0">
                  <a:moveTo>
                    <a:pt x="17723" y="12345"/>
                  </a:moveTo>
                  <a:cubicBezTo>
                    <a:pt x="16293" y="14399"/>
                    <a:pt x="14517" y="16188"/>
                    <a:pt x="12474" y="17634"/>
                  </a:cubicBezTo>
                  <a:lnTo>
                    <a:pt x="0" y="0"/>
                  </a:lnTo>
                  <a:close/>
                </a:path>
              </a:pathLst>
            </a:custGeom>
            <a:noFill/>
            <a:ln w="76200">
              <a:solidFill>
                <a:schemeClr val="accent1"/>
              </a:solidFill>
              <a:round/>
              <a:headEnd/>
              <a:tailEnd type="triangl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4588" name="Arc 12"/>
            <p:cNvSpPr>
              <a:spLocks/>
            </p:cNvSpPr>
            <p:nvPr>
              <p:custDataLst>
                <p:tags r:id="rId38"/>
              </p:custDataLst>
            </p:nvPr>
          </p:nvSpPr>
          <p:spPr bwMode="gray">
            <a:xfrm>
              <a:off x="649288" y="3659188"/>
              <a:ext cx="815975" cy="2305050"/>
            </a:xfrm>
            <a:custGeom>
              <a:avLst/>
              <a:gdLst>
                <a:gd name="T0" fmla="*/ 2147483647 w 9394"/>
                <a:gd name="T1" fmla="*/ 2147483647 h 21600"/>
                <a:gd name="T2" fmla="*/ 0 w 9394"/>
                <a:gd name="T3" fmla="*/ 2147483647 h 21600"/>
                <a:gd name="T4" fmla="*/ 2147483647 w 9394"/>
                <a:gd name="T5" fmla="*/ 0 h 21600"/>
                <a:gd name="T6" fmla="*/ 0 60000 65536"/>
                <a:gd name="T7" fmla="*/ 0 60000 65536"/>
                <a:gd name="T8" fmla="*/ 0 60000 65536"/>
                <a:gd name="T9" fmla="*/ 0 w 9394"/>
                <a:gd name="T10" fmla="*/ 0 h 21600"/>
                <a:gd name="T11" fmla="*/ 9394 w 9394"/>
                <a:gd name="T12" fmla="*/ 21600 h 21600"/>
              </a:gdLst>
              <a:ahLst/>
              <a:cxnLst>
                <a:cxn ang="T6">
                  <a:pos x="T0" y="T1"/>
                </a:cxn>
                <a:cxn ang="T7">
                  <a:pos x="T2" y="T3"/>
                </a:cxn>
                <a:cxn ang="T8">
                  <a:pos x="T4" y="T5"/>
                </a:cxn>
              </a:cxnLst>
              <a:rect l="T9" t="T10" r="T11" b="T12"/>
              <a:pathLst>
                <a:path w="9394" h="21600" fill="none" extrusionOk="0">
                  <a:moveTo>
                    <a:pt x="9393" y="19471"/>
                  </a:moveTo>
                  <a:cubicBezTo>
                    <a:pt x="6476" y="20872"/>
                    <a:pt x="3281" y="21599"/>
                    <a:pt x="45" y="21600"/>
                  </a:cubicBezTo>
                  <a:cubicBezTo>
                    <a:pt x="30" y="21600"/>
                    <a:pt x="15" y="21599"/>
                    <a:pt x="0" y="21599"/>
                  </a:cubicBezTo>
                </a:path>
                <a:path w="9394" h="21600" stroke="0" extrusionOk="0">
                  <a:moveTo>
                    <a:pt x="9393" y="19471"/>
                  </a:moveTo>
                  <a:cubicBezTo>
                    <a:pt x="6476" y="20872"/>
                    <a:pt x="3281" y="21599"/>
                    <a:pt x="45" y="21600"/>
                  </a:cubicBezTo>
                  <a:cubicBezTo>
                    <a:pt x="30" y="21600"/>
                    <a:pt x="15" y="21599"/>
                    <a:pt x="0" y="21599"/>
                  </a:cubicBezTo>
                  <a:lnTo>
                    <a:pt x="45" y="0"/>
                  </a:lnTo>
                  <a:close/>
                </a:path>
              </a:pathLst>
            </a:custGeom>
            <a:noFill/>
            <a:ln w="76200">
              <a:solidFill>
                <a:schemeClr val="accent1"/>
              </a:solidFill>
              <a:round/>
              <a:headEnd/>
              <a:tailEnd type="triangl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4589" name="Rectangle 13"/>
            <p:cNvSpPr>
              <a:spLocks noChangeArrowheads="1"/>
            </p:cNvSpPr>
            <p:nvPr>
              <p:custDataLst>
                <p:tags r:id="rId39"/>
              </p:custDataLst>
            </p:nvPr>
          </p:nvSpPr>
          <p:spPr bwMode="gray">
            <a:xfrm>
              <a:off x="1834149" y="1417638"/>
              <a:ext cx="1218029" cy="220701"/>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Arrival at sea</a:t>
              </a:r>
            </a:p>
          </p:txBody>
        </p:sp>
        <p:sp>
          <p:nvSpPr>
            <p:cNvPr id="24590" name="Oval 14"/>
            <p:cNvSpPr>
              <a:spLocks noChangeArrowheads="1"/>
            </p:cNvSpPr>
            <p:nvPr>
              <p:custDataLst>
                <p:tags r:id="rId40"/>
              </p:custDataLst>
            </p:nvPr>
          </p:nvSpPr>
          <p:spPr bwMode="gray">
            <a:xfrm>
              <a:off x="1389063" y="1381125"/>
              <a:ext cx="261937" cy="260350"/>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1</a:t>
              </a:r>
            </a:p>
          </p:txBody>
        </p:sp>
        <p:sp>
          <p:nvSpPr>
            <p:cNvPr id="24591" name="Rectangle 15"/>
            <p:cNvSpPr>
              <a:spLocks noChangeArrowheads="1"/>
            </p:cNvSpPr>
            <p:nvPr>
              <p:custDataLst>
                <p:tags r:id="rId41"/>
              </p:custDataLst>
            </p:nvPr>
          </p:nvSpPr>
          <p:spPr bwMode="gray">
            <a:xfrm>
              <a:off x="2360351" y="1884695"/>
              <a:ext cx="933759" cy="220701"/>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Pilot time </a:t>
              </a:r>
              <a:endParaRPr lang="en-US" sz="1300" dirty="0">
                <a:solidFill>
                  <a:srgbClr val="808080"/>
                </a:solidFill>
              </a:endParaRPr>
            </a:p>
          </p:txBody>
        </p:sp>
        <p:sp>
          <p:nvSpPr>
            <p:cNvPr id="24592" name="Oval 16"/>
            <p:cNvSpPr>
              <a:spLocks noChangeArrowheads="1"/>
            </p:cNvSpPr>
            <p:nvPr>
              <p:custDataLst>
                <p:tags r:id="rId42"/>
              </p:custDataLst>
            </p:nvPr>
          </p:nvSpPr>
          <p:spPr bwMode="gray">
            <a:xfrm>
              <a:off x="1901825" y="1887538"/>
              <a:ext cx="263525" cy="260350"/>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2</a:t>
              </a:r>
            </a:p>
          </p:txBody>
        </p:sp>
        <p:sp>
          <p:nvSpPr>
            <p:cNvPr id="24593" name="Rectangle 17"/>
            <p:cNvSpPr>
              <a:spLocks noChangeArrowheads="1"/>
            </p:cNvSpPr>
            <p:nvPr>
              <p:custDataLst>
                <p:tags r:id="rId43"/>
              </p:custDataLst>
            </p:nvPr>
          </p:nvSpPr>
          <p:spPr bwMode="gray">
            <a:xfrm>
              <a:off x="2426122" y="2296213"/>
              <a:ext cx="2155930" cy="441402"/>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Arrival</a:t>
              </a:r>
            </a:p>
            <a:p>
              <a:pPr marL="342900" indent="-342900" algn="ctr" defTabSz="912813" eaLnBrk="0" fontAlgn="base" hangingPunct="0">
                <a:spcBef>
                  <a:spcPct val="0"/>
                </a:spcBef>
                <a:spcAft>
                  <a:spcPct val="0"/>
                </a:spcAft>
                <a:buClr>
                  <a:srgbClr val="000000"/>
                </a:buClr>
              </a:pPr>
              <a:r>
                <a:rPr lang="en-US" sz="1300" dirty="0">
                  <a:solidFill>
                    <a:srgbClr val="808080"/>
                  </a:solidFill>
                </a:rPr>
                <a:t>(first line to first move)</a:t>
              </a:r>
            </a:p>
          </p:txBody>
        </p:sp>
        <p:sp>
          <p:nvSpPr>
            <p:cNvPr id="24594" name="Oval 18"/>
            <p:cNvSpPr>
              <a:spLocks noChangeArrowheads="1"/>
            </p:cNvSpPr>
            <p:nvPr>
              <p:custDataLst>
                <p:tags r:id="rId44"/>
              </p:custDataLst>
            </p:nvPr>
          </p:nvSpPr>
          <p:spPr bwMode="gray">
            <a:xfrm>
              <a:off x="2174875" y="2409825"/>
              <a:ext cx="261938" cy="260350"/>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3</a:t>
              </a:r>
            </a:p>
          </p:txBody>
        </p:sp>
        <p:sp>
          <p:nvSpPr>
            <p:cNvPr id="24595" name="Rectangle 19"/>
            <p:cNvSpPr>
              <a:spLocks noChangeArrowheads="1"/>
            </p:cNvSpPr>
            <p:nvPr>
              <p:custDataLst>
                <p:tags r:id="rId45"/>
              </p:custDataLst>
            </p:nvPr>
          </p:nvSpPr>
          <p:spPr bwMode="gray">
            <a:xfrm>
              <a:off x="2664234" y="3796992"/>
              <a:ext cx="993716" cy="220701"/>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Operations</a:t>
              </a:r>
            </a:p>
          </p:txBody>
        </p:sp>
        <p:sp>
          <p:nvSpPr>
            <p:cNvPr id="24596" name="Oval 20"/>
            <p:cNvSpPr>
              <a:spLocks noChangeArrowheads="1"/>
            </p:cNvSpPr>
            <p:nvPr>
              <p:custDataLst>
                <p:tags r:id="rId46"/>
              </p:custDataLst>
            </p:nvPr>
          </p:nvSpPr>
          <p:spPr bwMode="gray">
            <a:xfrm>
              <a:off x="2386013" y="3786188"/>
              <a:ext cx="261937" cy="260350"/>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4</a:t>
              </a:r>
            </a:p>
          </p:txBody>
        </p:sp>
        <p:sp>
          <p:nvSpPr>
            <p:cNvPr id="24597" name="Rectangle 21"/>
            <p:cNvSpPr>
              <a:spLocks noChangeArrowheads="1"/>
            </p:cNvSpPr>
            <p:nvPr>
              <p:custDataLst>
                <p:tags r:id="rId47"/>
              </p:custDataLst>
            </p:nvPr>
          </p:nvSpPr>
          <p:spPr bwMode="gray">
            <a:xfrm>
              <a:off x="2313621" y="4645357"/>
              <a:ext cx="2089232" cy="441402"/>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Departure</a:t>
              </a:r>
            </a:p>
            <a:p>
              <a:pPr marL="342900" indent="-342900" algn="ctr" defTabSz="912813" eaLnBrk="0" fontAlgn="base" hangingPunct="0">
                <a:spcBef>
                  <a:spcPct val="0"/>
                </a:spcBef>
                <a:spcAft>
                  <a:spcPct val="0"/>
                </a:spcAft>
                <a:buClr>
                  <a:srgbClr val="000000"/>
                </a:buClr>
              </a:pPr>
              <a:r>
                <a:rPr lang="en-US" sz="1300" dirty="0">
                  <a:solidFill>
                    <a:srgbClr val="808080"/>
                  </a:solidFill>
                </a:rPr>
                <a:t>(last move to last line)</a:t>
              </a:r>
            </a:p>
          </p:txBody>
        </p:sp>
        <p:sp>
          <p:nvSpPr>
            <p:cNvPr id="24598" name="Oval 22"/>
            <p:cNvSpPr>
              <a:spLocks noChangeArrowheads="1"/>
            </p:cNvSpPr>
            <p:nvPr>
              <p:custDataLst>
                <p:tags r:id="rId48"/>
              </p:custDataLst>
            </p:nvPr>
          </p:nvSpPr>
          <p:spPr bwMode="gray">
            <a:xfrm>
              <a:off x="2085975" y="4638675"/>
              <a:ext cx="261938" cy="260350"/>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5</a:t>
              </a:r>
            </a:p>
          </p:txBody>
        </p:sp>
        <p:sp>
          <p:nvSpPr>
            <p:cNvPr id="24599" name="Rectangle 23"/>
            <p:cNvSpPr>
              <a:spLocks noChangeArrowheads="1"/>
            </p:cNvSpPr>
            <p:nvPr>
              <p:custDataLst>
                <p:tags r:id="rId49"/>
              </p:custDataLst>
            </p:nvPr>
          </p:nvSpPr>
          <p:spPr bwMode="gray">
            <a:xfrm>
              <a:off x="2142968" y="5548313"/>
              <a:ext cx="933759" cy="220701"/>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Pilot time </a:t>
              </a:r>
              <a:endParaRPr lang="en-US" sz="1300" dirty="0">
                <a:solidFill>
                  <a:srgbClr val="808080"/>
                </a:solidFill>
              </a:endParaRPr>
            </a:p>
          </p:txBody>
        </p:sp>
        <p:sp>
          <p:nvSpPr>
            <p:cNvPr id="24600" name="Oval 24"/>
            <p:cNvSpPr>
              <a:spLocks noChangeArrowheads="1"/>
            </p:cNvSpPr>
            <p:nvPr>
              <p:custDataLst>
                <p:tags r:id="rId50"/>
              </p:custDataLst>
            </p:nvPr>
          </p:nvSpPr>
          <p:spPr bwMode="gray">
            <a:xfrm>
              <a:off x="1474788" y="5511800"/>
              <a:ext cx="263525" cy="261938"/>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6</a:t>
              </a:r>
            </a:p>
          </p:txBody>
        </p:sp>
        <p:grpSp>
          <p:nvGrpSpPr>
            <p:cNvPr id="2" name="Group 263"/>
            <p:cNvGrpSpPr>
              <a:grpSpLocks/>
            </p:cNvGrpSpPr>
            <p:nvPr>
              <p:custDataLst>
                <p:tags r:id="rId51"/>
              </p:custDataLst>
            </p:nvPr>
          </p:nvGrpSpPr>
          <p:grpSpPr bwMode="auto">
            <a:xfrm>
              <a:off x="2509838" y="2733675"/>
              <a:ext cx="1100137" cy="846138"/>
              <a:chOff x="386" y="886"/>
              <a:chExt cx="1372" cy="1096"/>
            </a:xfrm>
          </p:grpSpPr>
          <p:grpSp>
            <p:nvGrpSpPr>
              <p:cNvPr id="3" name="Group 264"/>
              <p:cNvGrpSpPr>
                <a:grpSpLocks/>
              </p:cNvGrpSpPr>
              <p:nvPr>
                <p:custDataLst>
                  <p:tags r:id="rId62"/>
                </p:custDataLst>
              </p:nvPr>
            </p:nvGrpSpPr>
            <p:grpSpPr bwMode="auto">
              <a:xfrm>
                <a:off x="1300" y="1709"/>
                <a:ext cx="99" cy="62"/>
                <a:chOff x="1668" y="2987"/>
                <a:chExt cx="218" cy="138"/>
              </a:xfrm>
            </p:grpSpPr>
            <p:sp>
              <p:nvSpPr>
                <p:cNvPr id="25116" name="Oval 265"/>
                <p:cNvSpPr>
                  <a:spLocks noChangeArrowheads="1"/>
                </p:cNvSpPr>
                <p:nvPr>
                  <p:custDataLst>
                    <p:tags r:id="rId139"/>
                  </p:custDataLst>
                </p:nvPr>
              </p:nvSpPr>
              <p:spPr bwMode="gray">
                <a:xfrm>
                  <a:off x="1668" y="3024"/>
                  <a:ext cx="218" cy="101"/>
                </a:xfrm>
                <a:prstGeom prst="ellipse">
                  <a:avLst/>
                </a:prstGeom>
                <a:gradFill rotWithShape="1">
                  <a:gsLst>
                    <a:gs pos="0">
                      <a:schemeClr val="tx1"/>
                    </a:gs>
                    <a:gs pos="100000">
                      <a:schemeClr val="bg1"/>
                    </a:gs>
                  </a:gsLst>
                  <a:path path="shape">
                    <a:fillToRect l="50000" t="50000" r="50000" b="50000"/>
                  </a:path>
                </a:gradFill>
                <a:ln w="9525">
                  <a:no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117" name="Freeform 266"/>
                <p:cNvSpPr>
                  <a:spLocks/>
                </p:cNvSpPr>
                <p:nvPr>
                  <p:custDataLst>
                    <p:tags r:id="rId140"/>
                  </p:custDataLst>
                </p:nvPr>
              </p:nvSpPr>
              <p:spPr bwMode="gray">
                <a:xfrm>
                  <a:off x="1698" y="3026"/>
                  <a:ext cx="182" cy="99"/>
                </a:xfrm>
                <a:custGeom>
                  <a:avLst/>
                  <a:gdLst>
                    <a:gd name="T0" fmla="*/ 57 w 150"/>
                    <a:gd name="T1" fmla="*/ 0 h 72"/>
                    <a:gd name="T2" fmla="*/ 0 w 150"/>
                    <a:gd name="T3" fmla="*/ 47 h 72"/>
                    <a:gd name="T4" fmla="*/ 61 w 150"/>
                    <a:gd name="T5" fmla="*/ 187 h 72"/>
                    <a:gd name="T6" fmla="*/ 268 w 150"/>
                    <a:gd name="T7" fmla="*/ 36 h 72"/>
                    <a:gd name="T8" fmla="*/ 178 w 150"/>
                    <a:gd name="T9" fmla="*/ 15 h 72"/>
                    <a:gd name="T10" fmla="*/ 0 60000 65536"/>
                    <a:gd name="T11" fmla="*/ 0 60000 65536"/>
                    <a:gd name="T12" fmla="*/ 0 60000 65536"/>
                    <a:gd name="T13" fmla="*/ 0 60000 65536"/>
                    <a:gd name="T14" fmla="*/ 0 60000 65536"/>
                    <a:gd name="T15" fmla="*/ 0 w 150"/>
                    <a:gd name="T16" fmla="*/ 0 h 72"/>
                    <a:gd name="T17" fmla="*/ 150 w 150"/>
                    <a:gd name="T18" fmla="*/ 72 h 72"/>
                  </a:gdLst>
                  <a:ahLst/>
                  <a:cxnLst>
                    <a:cxn ang="T10">
                      <a:pos x="T0" y="T1"/>
                    </a:cxn>
                    <a:cxn ang="T11">
                      <a:pos x="T2" y="T3"/>
                    </a:cxn>
                    <a:cxn ang="T12">
                      <a:pos x="T4" y="T5"/>
                    </a:cxn>
                    <a:cxn ang="T13">
                      <a:pos x="T6" y="T7"/>
                    </a:cxn>
                    <a:cxn ang="T14">
                      <a:pos x="T8" y="T9"/>
                    </a:cxn>
                  </a:cxnLst>
                  <a:rect l="T15" t="T16" r="T17" b="T18"/>
                  <a:pathLst>
                    <a:path w="150" h="72">
                      <a:moveTo>
                        <a:pt x="32" y="0"/>
                      </a:moveTo>
                      <a:lnTo>
                        <a:pt x="0" y="18"/>
                      </a:lnTo>
                      <a:lnTo>
                        <a:pt x="34" y="72"/>
                      </a:lnTo>
                      <a:lnTo>
                        <a:pt x="150" y="14"/>
                      </a:lnTo>
                      <a:lnTo>
                        <a:pt x="100" y="6"/>
                      </a:lnTo>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18" name="Freeform 267"/>
                <p:cNvSpPr>
                  <a:spLocks/>
                </p:cNvSpPr>
                <p:nvPr>
                  <p:custDataLst>
                    <p:tags r:id="rId141"/>
                  </p:custDataLst>
                </p:nvPr>
              </p:nvSpPr>
              <p:spPr bwMode="gray">
                <a:xfrm>
                  <a:off x="1698" y="3019"/>
                  <a:ext cx="70" cy="105"/>
                </a:xfrm>
                <a:custGeom>
                  <a:avLst/>
                  <a:gdLst>
                    <a:gd name="T0" fmla="*/ 58 w 58"/>
                    <a:gd name="T1" fmla="*/ 200 h 76"/>
                    <a:gd name="T2" fmla="*/ 101 w 58"/>
                    <a:gd name="T3" fmla="*/ 82 h 76"/>
                    <a:gd name="T4" fmla="*/ 65 w 58"/>
                    <a:gd name="T5" fmla="*/ 0 h 76"/>
                    <a:gd name="T6" fmla="*/ 0 w 58"/>
                    <a:gd name="T7" fmla="*/ 55 h 76"/>
                    <a:gd name="T8" fmla="*/ 58 w 58"/>
                    <a:gd name="T9" fmla="*/ 200 h 76"/>
                    <a:gd name="T10" fmla="*/ 0 60000 65536"/>
                    <a:gd name="T11" fmla="*/ 0 60000 65536"/>
                    <a:gd name="T12" fmla="*/ 0 60000 65536"/>
                    <a:gd name="T13" fmla="*/ 0 60000 65536"/>
                    <a:gd name="T14" fmla="*/ 0 60000 65536"/>
                    <a:gd name="T15" fmla="*/ 0 w 58"/>
                    <a:gd name="T16" fmla="*/ 0 h 76"/>
                    <a:gd name="T17" fmla="*/ 58 w 58"/>
                    <a:gd name="T18" fmla="*/ 76 h 76"/>
                  </a:gdLst>
                  <a:ahLst/>
                  <a:cxnLst>
                    <a:cxn ang="T10">
                      <a:pos x="T0" y="T1"/>
                    </a:cxn>
                    <a:cxn ang="T11">
                      <a:pos x="T2" y="T3"/>
                    </a:cxn>
                    <a:cxn ang="T12">
                      <a:pos x="T4" y="T5"/>
                    </a:cxn>
                    <a:cxn ang="T13">
                      <a:pos x="T6" y="T7"/>
                    </a:cxn>
                    <a:cxn ang="T14">
                      <a:pos x="T8" y="T9"/>
                    </a:cxn>
                  </a:cxnLst>
                  <a:rect l="T15" t="T16" r="T17" b="T18"/>
                  <a:pathLst>
                    <a:path w="58" h="76">
                      <a:moveTo>
                        <a:pt x="33" y="76"/>
                      </a:moveTo>
                      <a:lnTo>
                        <a:pt x="58" y="31"/>
                      </a:lnTo>
                      <a:lnTo>
                        <a:pt x="37" y="0"/>
                      </a:lnTo>
                      <a:lnTo>
                        <a:pt x="0" y="21"/>
                      </a:lnTo>
                      <a:lnTo>
                        <a:pt x="33" y="76"/>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19" name="Freeform 268"/>
                <p:cNvSpPr>
                  <a:spLocks/>
                </p:cNvSpPr>
                <p:nvPr>
                  <p:custDataLst>
                    <p:tags r:id="rId142"/>
                  </p:custDataLst>
                </p:nvPr>
              </p:nvSpPr>
              <p:spPr bwMode="gray">
                <a:xfrm>
                  <a:off x="1732" y="2987"/>
                  <a:ext cx="146" cy="58"/>
                </a:xfrm>
                <a:custGeom>
                  <a:avLst/>
                  <a:gdLst>
                    <a:gd name="T0" fmla="*/ 217 w 120"/>
                    <a:gd name="T1" fmla="*/ 110 h 42"/>
                    <a:gd name="T2" fmla="*/ 118 w 120"/>
                    <a:gd name="T3" fmla="*/ 0 h 42"/>
                    <a:gd name="T4" fmla="*/ 0 w 120"/>
                    <a:gd name="T5" fmla="*/ 76 h 42"/>
                    <a:gd name="T6" fmla="*/ 217 w 120"/>
                    <a:gd name="T7" fmla="*/ 110 h 42"/>
                    <a:gd name="T8" fmla="*/ 0 60000 65536"/>
                    <a:gd name="T9" fmla="*/ 0 60000 65536"/>
                    <a:gd name="T10" fmla="*/ 0 60000 65536"/>
                    <a:gd name="T11" fmla="*/ 0 60000 65536"/>
                    <a:gd name="T12" fmla="*/ 0 w 120"/>
                    <a:gd name="T13" fmla="*/ 0 h 42"/>
                    <a:gd name="T14" fmla="*/ 120 w 120"/>
                    <a:gd name="T15" fmla="*/ 42 h 42"/>
                  </a:gdLst>
                  <a:ahLst/>
                  <a:cxnLst>
                    <a:cxn ang="T8">
                      <a:pos x="T0" y="T1"/>
                    </a:cxn>
                    <a:cxn ang="T9">
                      <a:pos x="T2" y="T3"/>
                    </a:cxn>
                    <a:cxn ang="T10">
                      <a:pos x="T4" y="T5"/>
                    </a:cxn>
                    <a:cxn ang="T11">
                      <a:pos x="T6" y="T7"/>
                    </a:cxn>
                  </a:cxnLst>
                  <a:rect l="T12" t="T13" r="T14" b="T15"/>
                  <a:pathLst>
                    <a:path w="120" h="42">
                      <a:moveTo>
                        <a:pt x="120" y="42"/>
                      </a:moveTo>
                      <a:lnTo>
                        <a:pt x="66" y="0"/>
                      </a:lnTo>
                      <a:lnTo>
                        <a:pt x="0" y="29"/>
                      </a:lnTo>
                      <a:lnTo>
                        <a:pt x="120" y="42"/>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grpSp>
            <p:nvGrpSpPr>
              <p:cNvPr id="4" name="Group 269"/>
              <p:cNvGrpSpPr>
                <a:grpSpLocks/>
              </p:cNvGrpSpPr>
              <p:nvPr>
                <p:custDataLst>
                  <p:tags r:id="rId63"/>
                </p:custDataLst>
              </p:nvPr>
            </p:nvGrpSpPr>
            <p:grpSpPr bwMode="auto">
              <a:xfrm>
                <a:off x="1328" y="1216"/>
                <a:ext cx="32" cy="532"/>
                <a:chOff x="808" y="1656"/>
                <a:chExt cx="64" cy="1192"/>
              </a:xfrm>
            </p:grpSpPr>
            <p:sp>
              <p:nvSpPr>
                <p:cNvPr id="25114" name="Freeform 270"/>
                <p:cNvSpPr>
                  <a:spLocks/>
                </p:cNvSpPr>
                <p:nvPr>
                  <p:custDataLst>
                    <p:tags r:id="rId138"/>
                  </p:custDataLst>
                </p:nvPr>
              </p:nvSpPr>
              <p:spPr bwMode="gray">
                <a:xfrm>
                  <a:off x="808" y="1656"/>
                  <a:ext cx="64" cy="1192"/>
                </a:xfrm>
                <a:custGeom>
                  <a:avLst/>
                  <a:gdLst>
                    <a:gd name="T0" fmla="*/ 4 w 64"/>
                    <a:gd name="T1" fmla="*/ 1164 h 1192"/>
                    <a:gd name="T2" fmla="*/ 24 w 64"/>
                    <a:gd name="T3" fmla="*/ 1192 h 1192"/>
                    <a:gd name="T4" fmla="*/ 64 w 64"/>
                    <a:gd name="T5" fmla="*/ 1172 h 1192"/>
                    <a:gd name="T6" fmla="*/ 64 w 64"/>
                    <a:gd name="T7" fmla="*/ 0 h 1192"/>
                    <a:gd name="T8" fmla="*/ 28 w 64"/>
                    <a:gd name="T9" fmla="*/ 36 h 1192"/>
                    <a:gd name="T10" fmla="*/ 0 w 64"/>
                    <a:gd name="T11" fmla="*/ 20 h 1192"/>
                    <a:gd name="T12" fmla="*/ 4 w 64"/>
                    <a:gd name="T13" fmla="*/ 1164 h 1192"/>
                    <a:gd name="T14" fmla="*/ 0 60000 65536"/>
                    <a:gd name="T15" fmla="*/ 0 60000 65536"/>
                    <a:gd name="T16" fmla="*/ 0 60000 65536"/>
                    <a:gd name="T17" fmla="*/ 0 60000 65536"/>
                    <a:gd name="T18" fmla="*/ 0 60000 65536"/>
                    <a:gd name="T19" fmla="*/ 0 60000 65536"/>
                    <a:gd name="T20" fmla="*/ 0 60000 65536"/>
                    <a:gd name="T21" fmla="*/ 0 w 64"/>
                    <a:gd name="T22" fmla="*/ 0 h 1192"/>
                    <a:gd name="T23" fmla="*/ 64 w 64"/>
                    <a:gd name="T24" fmla="*/ 1192 h 1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1192">
                      <a:moveTo>
                        <a:pt x="4" y="1164"/>
                      </a:moveTo>
                      <a:lnTo>
                        <a:pt x="24" y="1192"/>
                      </a:lnTo>
                      <a:lnTo>
                        <a:pt x="64" y="1172"/>
                      </a:lnTo>
                      <a:lnTo>
                        <a:pt x="64" y="0"/>
                      </a:lnTo>
                      <a:lnTo>
                        <a:pt x="28" y="36"/>
                      </a:lnTo>
                      <a:lnTo>
                        <a:pt x="0" y="20"/>
                      </a:lnTo>
                      <a:lnTo>
                        <a:pt x="4" y="1164"/>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15" name="Line 271"/>
                <p:cNvSpPr>
                  <a:spLocks noChangeShapeType="1"/>
                </p:cNvSpPr>
                <p:nvPr/>
              </p:nvSpPr>
              <p:spPr bwMode="gray">
                <a:xfrm flipV="1">
                  <a:off x="836" y="1692"/>
                  <a:ext cx="1" cy="1154"/>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grpSp>
          <p:sp>
            <p:nvSpPr>
              <p:cNvPr id="25034" name="Freeform 272"/>
              <p:cNvSpPr>
                <a:spLocks/>
              </p:cNvSpPr>
              <p:nvPr>
                <p:custDataLst>
                  <p:tags r:id="rId64"/>
                </p:custDataLst>
              </p:nvPr>
            </p:nvSpPr>
            <p:spPr bwMode="gray">
              <a:xfrm>
                <a:off x="1138" y="1175"/>
                <a:ext cx="192" cy="375"/>
              </a:xfrm>
              <a:custGeom>
                <a:avLst/>
                <a:gdLst>
                  <a:gd name="T0" fmla="*/ 0 w 462"/>
                  <a:gd name="T1" fmla="*/ 9 h 688"/>
                  <a:gd name="T2" fmla="*/ 33 w 462"/>
                  <a:gd name="T3" fmla="*/ 111 h 688"/>
                  <a:gd name="T4" fmla="*/ 33 w 462"/>
                  <a:gd name="T5" fmla="*/ 103 h 688"/>
                  <a:gd name="T6" fmla="*/ 0 w 462"/>
                  <a:gd name="T7" fmla="*/ 0 h 688"/>
                  <a:gd name="T8" fmla="*/ 0 w 462"/>
                  <a:gd name="T9" fmla="*/ 9 h 688"/>
                  <a:gd name="T10" fmla="*/ 0 60000 65536"/>
                  <a:gd name="T11" fmla="*/ 0 60000 65536"/>
                  <a:gd name="T12" fmla="*/ 0 60000 65536"/>
                  <a:gd name="T13" fmla="*/ 0 60000 65536"/>
                  <a:gd name="T14" fmla="*/ 0 60000 65536"/>
                  <a:gd name="T15" fmla="*/ 0 w 462"/>
                  <a:gd name="T16" fmla="*/ 0 h 688"/>
                  <a:gd name="T17" fmla="*/ 462 w 462"/>
                  <a:gd name="T18" fmla="*/ 688 h 688"/>
                </a:gdLst>
                <a:ahLst/>
                <a:cxnLst>
                  <a:cxn ang="T10">
                    <a:pos x="T0" y="T1"/>
                  </a:cxn>
                  <a:cxn ang="T11">
                    <a:pos x="T2" y="T3"/>
                  </a:cxn>
                  <a:cxn ang="T12">
                    <a:pos x="T4" y="T5"/>
                  </a:cxn>
                  <a:cxn ang="T13">
                    <a:pos x="T6" y="T7"/>
                  </a:cxn>
                  <a:cxn ang="T14">
                    <a:pos x="T8" y="T9"/>
                  </a:cxn>
                </a:cxnLst>
                <a:rect l="T15" t="T16" r="T17" b="T18"/>
                <a:pathLst>
                  <a:path w="462" h="688">
                    <a:moveTo>
                      <a:pt x="0" y="53"/>
                    </a:moveTo>
                    <a:lnTo>
                      <a:pt x="461" y="688"/>
                    </a:lnTo>
                    <a:lnTo>
                      <a:pt x="462" y="635"/>
                    </a:lnTo>
                    <a:lnTo>
                      <a:pt x="0" y="0"/>
                    </a:lnTo>
                    <a:lnTo>
                      <a:pt x="0" y="53"/>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nvGrpSpPr>
              <p:cNvPr id="5" name="Group 273"/>
              <p:cNvGrpSpPr>
                <a:grpSpLocks/>
              </p:cNvGrpSpPr>
              <p:nvPr>
                <p:custDataLst>
                  <p:tags r:id="rId65"/>
                </p:custDataLst>
              </p:nvPr>
            </p:nvGrpSpPr>
            <p:grpSpPr bwMode="auto">
              <a:xfrm>
                <a:off x="1073" y="1712"/>
                <a:ext cx="99" cy="62"/>
                <a:chOff x="1668" y="2987"/>
                <a:chExt cx="218" cy="138"/>
              </a:xfrm>
            </p:grpSpPr>
            <p:sp>
              <p:nvSpPr>
                <p:cNvPr id="25110" name="Oval 274"/>
                <p:cNvSpPr>
                  <a:spLocks noChangeArrowheads="1"/>
                </p:cNvSpPr>
                <p:nvPr>
                  <p:custDataLst>
                    <p:tags r:id="rId134"/>
                  </p:custDataLst>
                </p:nvPr>
              </p:nvSpPr>
              <p:spPr bwMode="gray">
                <a:xfrm>
                  <a:off x="1668" y="3024"/>
                  <a:ext cx="218" cy="96"/>
                </a:xfrm>
                <a:prstGeom prst="ellipse">
                  <a:avLst/>
                </a:prstGeom>
                <a:gradFill rotWithShape="1">
                  <a:gsLst>
                    <a:gs pos="0">
                      <a:schemeClr val="tx1"/>
                    </a:gs>
                    <a:gs pos="100000">
                      <a:schemeClr val="bg1"/>
                    </a:gs>
                  </a:gsLst>
                  <a:path path="shape">
                    <a:fillToRect l="50000" t="50000" r="50000" b="50000"/>
                  </a:path>
                </a:gradFill>
                <a:ln w="9525">
                  <a:no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111" name="Freeform 275"/>
                <p:cNvSpPr>
                  <a:spLocks/>
                </p:cNvSpPr>
                <p:nvPr>
                  <p:custDataLst>
                    <p:tags r:id="rId135"/>
                  </p:custDataLst>
                </p:nvPr>
              </p:nvSpPr>
              <p:spPr bwMode="gray">
                <a:xfrm>
                  <a:off x="1698" y="3026"/>
                  <a:ext cx="182" cy="99"/>
                </a:xfrm>
                <a:custGeom>
                  <a:avLst/>
                  <a:gdLst>
                    <a:gd name="T0" fmla="*/ 57 w 150"/>
                    <a:gd name="T1" fmla="*/ 0 h 72"/>
                    <a:gd name="T2" fmla="*/ 0 w 150"/>
                    <a:gd name="T3" fmla="*/ 47 h 72"/>
                    <a:gd name="T4" fmla="*/ 61 w 150"/>
                    <a:gd name="T5" fmla="*/ 187 h 72"/>
                    <a:gd name="T6" fmla="*/ 268 w 150"/>
                    <a:gd name="T7" fmla="*/ 36 h 72"/>
                    <a:gd name="T8" fmla="*/ 178 w 150"/>
                    <a:gd name="T9" fmla="*/ 15 h 72"/>
                    <a:gd name="T10" fmla="*/ 0 60000 65536"/>
                    <a:gd name="T11" fmla="*/ 0 60000 65536"/>
                    <a:gd name="T12" fmla="*/ 0 60000 65536"/>
                    <a:gd name="T13" fmla="*/ 0 60000 65536"/>
                    <a:gd name="T14" fmla="*/ 0 60000 65536"/>
                    <a:gd name="T15" fmla="*/ 0 w 150"/>
                    <a:gd name="T16" fmla="*/ 0 h 72"/>
                    <a:gd name="T17" fmla="*/ 150 w 150"/>
                    <a:gd name="T18" fmla="*/ 72 h 72"/>
                  </a:gdLst>
                  <a:ahLst/>
                  <a:cxnLst>
                    <a:cxn ang="T10">
                      <a:pos x="T0" y="T1"/>
                    </a:cxn>
                    <a:cxn ang="T11">
                      <a:pos x="T2" y="T3"/>
                    </a:cxn>
                    <a:cxn ang="T12">
                      <a:pos x="T4" y="T5"/>
                    </a:cxn>
                    <a:cxn ang="T13">
                      <a:pos x="T6" y="T7"/>
                    </a:cxn>
                    <a:cxn ang="T14">
                      <a:pos x="T8" y="T9"/>
                    </a:cxn>
                  </a:cxnLst>
                  <a:rect l="T15" t="T16" r="T17" b="T18"/>
                  <a:pathLst>
                    <a:path w="150" h="72">
                      <a:moveTo>
                        <a:pt x="32" y="0"/>
                      </a:moveTo>
                      <a:lnTo>
                        <a:pt x="0" y="18"/>
                      </a:lnTo>
                      <a:lnTo>
                        <a:pt x="34" y="72"/>
                      </a:lnTo>
                      <a:lnTo>
                        <a:pt x="150" y="14"/>
                      </a:lnTo>
                      <a:lnTo>
                        <a:pt x="100" y="6"/>
                      </a:lnTo>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12" name="Freeform 276"/>
                <p:cNvSpPr>
                  <a:spLocks/>
                </p:cNvSpPr>
                <p:nvPr>
                  <p:custDataLst>
                    <p:tags r:id="rId136"/>
                  </p:custDataLst>
                </p:nvPr>
              </p:nvSpPr>
              <p:spPr bwMode="gray">
                <a:xfrm>
                  <a:off x="1698" y="3019"/>
                  <a:ext cx="70" cy="105"/>
                </a:xfrm>
                <a:custGeom>
                  <a:avLst/>
                  <a:gdLst>
                    <a:gd name="T0" fmla="*/ 58 w 58"/>
                    <a:gd name="T1" fmla="*/ 200 h 76"/>
                    <a:gd name="T2" fmla="*/ 101 w 58"/>
                    <a:gd name="T3" fmla="*/ 82 h 76"/>
                    <a:gd name="T4" fmla="*/ 65 w 58"/>
                    <a:gd name="T5" fmla="*/ 0 h 76"/>
                    <a:gd name="T6" fmla="*/ 0 w 58"/>
                    <a:gd name="T7" fmla="*/ 55 h 76"/>
                    <a:gd name="T8" fmla="*/ 58 w 58"/>
                    <a:gd name="T9" fmla="*/ 200 h 76"/>
                    <a:gd name="T10" fmla="*/ 0 60000 65536"/>
                    <a:gd name="T11" fmla="*/ 0 60000 65536"/>
                    <a:gd name="T12" fmla="*/ 0 60000 65536"/>
                    <a:gd name="T13" fmla="*/ 0 60000 65536"/>
                    <a:gd name="T14" fmla="*/ 0 60000 65536"/>
                    <a:gd name="T15" fmla="*/ 0 w 58"/>
                    <a:gd name="T16" fmla="*/ 0 h 76"/>
                    <a:gd name="T17" fmla="*/ 58 w 58"/>
                    <a:gd name="T18" fmla="*/ 76 h 76"/>
                  </a:gdLst>
                  <a:ahLst/>
                  <a:cxnLst>
                    <a:cxn ang="T10">
                      <a:pos x="T0" y="T1"/>
                    </a:cxn>
                    <a:cxn ang="T11">
                      <a:pos x="T2" y="T3"/>
                    </a:cxn>
                    <a:cxn ang="T12">
                      <a:pos x="T4" y="T5"/>
                    </a:cxn>
                    <a:cxn ang="T13">
                      <a:pos x="T6" y="T7"/>
                    </a:cxn>
                    <a:cxn ang="T14">
                      <a:pos x="T8" y="T9"/>
                    </a:cxn>
                  </a:cxnLst>
                  <a:rect l="T15" t="T16" r="T17" b="T18"/>
                  <a:pathLst>
                    <a:path w="58" h="76">
                      <a:moveTo>
                        <a:pt x="33" y="76"/>
                      </a:moveTo>
                      <a:lnTo>
                        <a:pt x="58" y="31"/>
                      </a:lnTo>
                      <a:lnTo>
                        <a:pt x="37" y="0"/>
                      </a:lnTo>
                      <a:lnTo>
                        <a:pt x="0" y="21"/>
                      </a:lnTo>
                      <a:lnTo>
                        <a:pt x="33" y="76"/>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13" name="Freeform 277"/>
                <p:cNvSpPr>
                  <a:spLocks/>
                </p:cNvSpPr>
                <p:nvPr>
                  <p:custDataLst>
                    <p:tags r:id="rId137"/>
                  </p:custDataLst>
                </p:nvPr>
              </p:nvSpPr>
              <p:spPr bwMode="gray">
                <a:xfrm>
                  <a:off x="1732" y="2987"/>
                  <a:ext cx="146" cy="58"/>
                </a:xfrm>
                <a:custGeom>
                  <a:avLst/>
                  <a:gdLst>
                    <a:gd name="T0" fmla="*/ 217 w 120"/>
                    <a:gd name="T1" fmla="*/ 110 h 42"/>
                    <a:gd name="T2" fmla="*/ 118 w 120"/>
                    <a:gd name="T3" fmla="*/ 0 h 42"/>
                    <a:gd name="T4" fmla="*/ 0 w 120"/>
                    <a:gd name="T5" fmla="*/ 76 h 42"/>
                    <a:gd name="T6" fmla="*/ 217 w 120"/>
                    <a:gd name="T7" fmla="*/ 110 h 42"/>
                    <a:gd name="T8" fmla="*/ 0 60000 65536"/>
                    <a:gd name="T9" fmla="*/ 0 60000 65536"/>
                    <a:gd name="T10" fmla="*/ 0 60000 65536"/>
                    <a:gd name="T11" fmla="*/ 0 60000 65536"/>
                    <a:gd name="T12" fmla="*/ 0 w 120"/>
                    <a:gd name="T13" fmla="*/ 0 h 42"/>
                    <a:gd name="T14" fmla="*/ 120 w 120"/>
                    <a:gd name="T15" fmla="*/ 42 h 42"/>
                  </a:gdLst>
                  <a:ahLst/>
                  <a:cxnLst>
                    <a:cxn ang="T8">
                      <a:pos x="T0" y="T1"/>
                    </a:cxn>
                    <a:cxn ang="T9">
                      <a:pos x="T2" y="T3"/>
                    </a:cxn>
                    <a:cxn ang="T10">
                      <a:pos x="T4" y="T5"/>
                    </a:cxn>
                    <a:cxn ang="T11">
                      <a:pos x="T6" y="T7"/>
                    </a:cxn>
                  </a:cxnLst>
                  <a:rect l="T12" t="T13" r="T14" b="T15"/>
                  <a:pathLst>
                    <a:path w="120" h="42">
                      <a:moveTo>
                        <a:pt x="120" y="42"/>
                      </a:moveTo>
                      <a:lnTo>
                        <a:pt x="66" y="0"/>
                      </a:lnTo>
                      <a:lnTo>
                        <a:pt x="0" y="29"/>
                      </a:lnTo>
                      <a:lnTo>
                        <a:pt x="120" y="42"/>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grpSp>
            <p:nvGrpSpPr>
              <p:cNvPr id="6" name="Group 278"/>
              <p:cNvGrpSpPr>
                <a:grpSpLocks/>
              </p:cNvGrpSpPr>
              <p:nvPr>
                <p:custDataLst>
                  <p:tags r:id="rId66"/>
                </p:custDataLst>
              </p:nvPr>
            </p:nvGrpSpPr>
            <p:grpSpPr bwMode="auto">
              <a:xfrm>
                <a:off x="1205" y="1917"/>
                <a:ext cx="99" cy="63"/>
                <a:chOff x="1668" y="2987"/>
                <a:chExt cx="218" cy="138"/>
              </a:xfrm>
            </p:grpSpPr>
            <p:sp>
              <p:nvSpPr>
                <p:cNvPr id="25106" name="Oval 279"/>
                <p:cNvSpPr>
                  <a:spLocks noChangeArrowheads="1"/>
                </p:cNvSpPr>
                <p:nvPr>
                  <p:custDataLst>
                    <p:tags r:id="rId130"/>
                  </p:custDataLst>
                </p:nvPr>
              </p:nvSpPr>
              <p:spPr bwMode="gray">
                <a:xfrm>
                  <a:off x="1668" y="3023"/>
                  <a:ext cx="218" cy="98"/>
                </a:xfrm>
                <a:prstGeom prst="ellipse">
                  <a:avLst/>
                </a:prstGeom>
                <a:gradFill rotWithShape="1">
                  <a:gsLst>
                    <a:gs pos="0">
                      <a:schemeClr val="tx1"/>
                    </a:gs>
                    <a:gs pos="100000">
                      <a:schemeClr val="bg1"/>
                    </a:gs>
                  </a:gsLst>
                  <a:path path="shape">
                    <a:fillToRect l="50000" t="50000" r="50000" b="50000"/>
                  </a:path>
                </a:gradFill>
                <a:ln w="9525">
                  <a:no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107" name="Freeform 280"/>
                <p:cNvSpPr>
                  <a:spLocks/>
                </p:cNvSpPr>
                <p:nvPr>
                  <p:custDataLst>
                    <p:tags r:id="rId131"/>
                  </p:custDataLst>
                </p:nvPr>
              </p:nvSpPr>
              <p:spPr bwMode="gray">
                <a:xfrm>
                  <a:off x="1698" y="3026"/>
                  <a:ext cx="182" cy="99"/>
                </a:xfrm>
                <a:custGeom>
                  <a:avLst/>
                  <a:gdLst>
                    <a:gd name="T0" fmla="*/ 57 w 150"/>
                    <a:gd name="T1" fmla="*/ 0 h 72"/>
                    <a:gd name="T2" fmla="*/ 0 w 150"/>
                    <a:gd name="T3" fmla="*/ 47 h 72"/>
                    <a:gd name="T4" fmla="*/ 61 w 150"/>
                    <a:gd name="T5" fmla="*/ 187 h 72"/>
                    <a:gd name="T6" fmla="*/ 268 w 150"/>
                    <a:gd name="T7" fmla="*/ 36 h 72"/>
                    <a:gd name="T8" fmla="*/ 178 w 150"/>
                    <a:gd name="T9" fmla="*/ 15 h 72"/>
                    <a:gd name="T10" fmla="*/ 0 60000 65536"/>
                    <a:gd name="T11" fmla="*/ 0 60000 65536"/>
                    <a:gd name="T12" fmla="*/ 0 60000 65536"/>
                    <a:gd name="T13" fmla="*/ 0 60000 65536"/>
                    <a:gd name="T14" fmla="*/ 0 60000 65536"/>
                    <a:gd name="T15" fmla="*/ 0 w 150"/>
                    <a:gd name="T16" fmla="*/ 0 h 72"/>
                    <a:gd name="T17" fmla="*/ 150 w 150"/>
                    <a:gd name="T18" fmla="*/ 72 h 72"/>
                  </a:gdLst>
                  <a:ahLst/>
                  <a:cxnLst>
                    <a:cxn ang="T10">
                      <a:pos x="T0" y="T1"/>
                    </a:cxn>
                    <a:cxn ang="T11">
                      <a:pos x="T2" y="T3"/>
                    </a:cxn>
                    <a:cxn ang="T12">
                      <a:pos x="T4" y="T5"/>
                    </a:cxn>
                    <a:cxn ang="T13">
                      <a:pos x="T6" y="T7"/>
                    </a:cxn>
                    <a:cxn ang="T14">
                      <a:pos x="T8" y="T9"/>
                    </a:cxn>
                  </a:cxnLst>
                  <a:rect l="T15" t="T16" r="T17" b="T18"/>
                  <a:pathLst>
                    <a:path w="150" h="72">
                      <a:moveTo>
                        <a:pt x="32" y="0"/>
                      </a:moveTo>
                      <a:lnTo>
                        <a:pt x="0" y="18"/>
                      </a:lnTo>
                      <a:lnTo>
                        <a:pt x="34" y="72"/>
                      </a:lnTo>
                      <a:lnTo>
                        <a:pt x="150" y="14"/>
                      </a:lnTo>
                      <a:lnTo>
                        <a:pt x="100" y="6"/>
                      </a:lnTo>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08" name="Freeform 281"/>
                <p:cNvSpPr>
                  <a:spLocks/>
                </p:cNvSpPr>
                <p:nvPr>
                  <p:custDataLst>
                    <p:tags r:id="rId132"/>
                  </p:custDataLst>
                </p:nvPr>
              </p:nvSpPr>
              <p:spPr bwMode="gray">
                <a:xfrm>
                  <a:off x="1698" y="3019"/>
                  <a:ext cx="70" cy="105"/>
                </a:xfrm>
                <a:custGeom>
                  <a:avLst/>
                  <a:gdLst>
                    <a:gd name="T0" fmla="*/ 58 w 58"/>
                    <a:gd name="T1" fmla="*/ 200 h 76"/>
                    <a:gd name="T2" fmla="*/ 101 w 58"/>
                    <a:gd name="T3" fmla="*/ 82 h 76"/>
                    <a:gd name="T4" fmla="*/ 65 w 58"/>
                    <a:gd name="T5" fmla="*/ 0 h 76"/>
                    <a:gd name="T6" fmla="*/ 0 w 58"/>
                    <a:gd name="T7" fmla="*/ 55 h 76"/>
                    <a:gd name="T8" fmla="*/ 58 w 58"/>
                    <a:gd name="T9" fmla="*/ 200 h 76"/>
                    <a:gd name="T10" fmla="*/ 0 60000 65536"/>
                    <a:gd name="T11" fmla="*/ 0 60000 65536"/>
                    <a:gd name="T12" fmla="*/ 0 60000 65536"/>
                    <a:gd name="T13" fmla="*/ 0 60000 65536"/>
                    <a:gd name="T14" fmla="*/ 0 60000 65536"/>
                    <a:gd name="T15" fmla="*/ 0 w 58"/>
                    <a:gd name="T16" fmla="*/ 0 h 76"/>
                    <a:gd name="T17" fmla="*/ 58 w 58"/>
                    <a:gd name="T18" fmla="*/ 76 h 76"/>
                  </a:gdLst>
                  <a:ahLst/>
                  <a:cxnLst>
                    <a:cxn ang="T10">
                      <a:pos x="T0" y="T1"/>
                    </a:cxn>
                    <a:cxn ang="T11">
                      <a:pos x="T2" y="T3"/>
                    </a:cxn>
                    <a:cxn ang="T12">
                      <a:pos x="T4" y="T5"/>
                    </a:cxn>
                    <a:cxn ang="T13">
                      <a:pos x="T6" y="T7"/>
                    </a:cxn>
                    <a:cxn ang="T14">
                      <a:pos x="T8" y="T9"/>
                    </a:cxn>
                  </a:cxnLst>
                  <a:rect l="T15" t="T16" r="T17" b="T18"/>
                  <a:pathLst>
                    <a:path w="58" h="76">
                      <a:moveTo>
                        <a:pt x="33" y="76"/>
                      </a:moveTo>
                      <a:lnTo>
                        <a:pt x="58" y="31"/>
                      </a:lnTo>
                      <a:lnTo>
                        <a:pt x="37" y="0"/>
                      </a:lnTo>
                      <a:lnTo>
                        <a:pt x="0" y="21"/>
                      </a:lnTo>
                      <a:lnTo>
                        <a:pt x="33" y="76"/>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09" name="Freeform 282"/>
                <p:cNvSpPr>
                  <a:spLocks/>
                </p:cNvSpPr>
                <p:nvPr>
                  <p:custDataLst>
                    <p:tags r:id="rId133"/>
                  </p:custDataLst>
                </p:nvPr>
              </p:nvSpPr>
              <p:spPr bwMode="gray">
                <a:xfrm>
                  <a:off x="1732" y="2987"/>
                  <a:ext cx="146" cy="58"/>
                </a:xfrm>
                <a:custGeom>
                  <a:avLst/>
                  <a:gdLst>
                    <a:gd name="T0" fmla="*/ 217 w 120"/>
                    <a:gd name="T1" fmla="*/ 110 h 42"/>
                    <a:gd name="T2" fmla="*/ 118 w 120"/>
                    <a:gd name="T3" fmla="*/ 0 h 42"/>
                    <a:gd name="T4" fmla="*/ 0 w 120"/>
                    <a:gd name="T5" fmla="*/ 76 h 42"/>
                    <a:gd name="T6" fmla="*/ 217 w 120"/>
                    <a:gd name="T7" fmla="*/ 110 h 42"/>
                    <a:gd name="T8" fmla="*/ 0 60000 65536"/>
                    <a:gd name="T9" fmla="*/ 0 60000 65536"/>
                    <a:gd name="T10" fmla="*/ 0 60000 65536"/>
                    <a:gd name="T11" fmla="*/ 0 60000 65536"/>
                    <a:gd name="T12" fmla="*/ 0 w 120"/>
                    <a:gd name="T13" fmla="*/ 0 h 42"/>
                    <a:gd name="T14" fmla="*/ 120 w 120"/>
                    <a:gd name="T15" fmla="*/ 42 h 42"/>
                  </a:gdLst>
                  <a:ahLst/>
                  <a:cxnLst>
                    <a:cxn ang="T8">
                      <a:pos x="T0" y="T1"/>
                    </a:cxn>
                    <a:cxn ang="T9">
                      <a:pos x="T2" y="T3"/>
                    </a:cxn>
                    <a:cxn ang="T10">
                      <a:pos x="T4" y="T5"/>
                    </a:cxn>
                    <a:cxn ang="T11">
                      <a:pos x="T6" y="T7"/>
                    </a:cxn>
                  </a:cxnLst>
                  <a:rect l="T12" t="T13" r="T14" b="T15"/>
                  <a:pathLst>
                    <a:path w="120" h="42">
                      <a:moveTo>
                        <a:pt x="120" y="42"/>
                      </a:moveTo>
                      <a:lnTo>
                        <a:pt x="66" y="0"/>
                      </a:lnTo>
                      <a:lnTo>
                        <a:pt x="0" y="29"/>
                      </a:lnTo>
                      <a:lnTo>
                        <a:pt x="120" y="42"/>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grpSp>
            <p:nvGrpSpPr>
              <p:cNvPr id="7" name="Group 283"/>
              <p:cNvGrpSpPr>
                <a:grpSpLocks/>
              </p:cNvGrpSpPr>
              <p:nvPr>
                <p:custDataLst>
                  <p:tags r:id="rId67"/>
                </p:custDataLst>
              </p:nvPr>
            </p:nvGrpSpPr>
            <p:grpSpPr bwMode="auto">
              <a:xfrm>
                <a:off x="1105" y="1178"/>
                <a:ext cx="38" cy="570"/>
                <a:chOff x="808" y="1656"/>
                <a:chExt cx="64" cy="1192"/>
              </a:xfrm>
            </p:grpSpPr>
            <p:sp>
              <p:nvSpPr>
                <p:cNvPr id="25104" name="Freeform 284"/>
                <p:cNvSpPr>
                  <a:spLocks/>
                </p:cNvSpPr>
                <p:nvPr>
                  <p:custDataLst>
                    <p:tags r:id="rId129"/>
                  </p:custDataLst>
                </p:nvPr>
              </p:nvSpPr>
              <p:spPr bwMode="gray">
                <a:xfrm>
                  <a:off x="808" y="1656"/>
                  <a:ext cx="64" cy="1192"/>
                </a:xfrm>
                <a:custGeom>
                  <a:avLst/>
                  <a:gdLst>
                    <a:gd name="T0" fmla="*/ 4 w 64"/>
                    <a:gd name="T1" fmla="*/ 1164 h 1192"/>
                    <a:gd name="T2" fmla="*/ 24 w 64"/>
                    <a:gd name="T3" fmla="*/ 1192 h 1192"/>
                    <a:gd name="T4" fmla="*/ 64 w 64"/>
                    <a:gd name="T5" fmla="*/ 1172 h 1192"/>
                    <a:gd name="T6" fmla="*/ 64 w 64"/>
                    <a:gd name="T7" fmla="*/ 0 h 1192"/>
                    <a:gd name="T8" fmla="*/ 28 w 64"/>
                    <a:gd name="T9" fmla="*/ 36 h 1192"/>
                    <a:gd name="T10" fmla="*/ 0 w 64"/>
                    <a:gd name="T11" fmla="*/ 20 h 1192"/>
                    <a:gd name="T12" fmla="*/ 4 w 64"/>
                    <a:gd name="T13" fmla="*/ 1164 h 1192"/>
                    <a:gd name="T14" fmla="*/ 0 60000 65536"/>
                    <a:gd name="T15" fmla="*/ 0 60000 65536"/>
                    <a:gd name="T16" fmla="*/ 0 60000 65536"/>
                    <a:gd name="T17" fmla="*/ 0 60000 65536"/>
                    <a:gd name="T18" fmla="*/ 0 60000 65536"/>
                    <a:gd name="T19" fmla="*/ 0 60000 65536"/>
                    <a:gd name="T20" fmla="*/ 0 60000 65536"/>
                    <a:gd name="T21" fmla="*/ 0 w 64"/>
                    <a:gd name="T22" fmla="*/ 0 h 1192"/>
                    <a:gd name="T23" fmla="*/ 64 w 64"/>
                    <a:gd name="T24" fmla="*/ 1192 h 1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1192">
                      <a:moveTo>
                        <a:pt x="4" y="1164"/>
                      </a:moveTo>
                      <a:lnTo>
                        <a:pt x="24" y="1192"/>
                      </a:lnTo>
                      <a:lnTo>
                        <a:pt x="64" y="1172"/>
                      </a:lnTo>
                      <a:lnTo>
                        <a:pt x="64" y="0"/>
                      </a:lnTo>
                      <a:lnTo>
                        <a:pt x="28" y="36"/>
                      </a:lnTo>
                      <a:lnTo>
                        <a:pt x="0" y="20"/>
                      </a:lnTo>
                      <a:lnTo>
                        <a:pt x="4" y="1164"/>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05" name="Line 285"/>
                <p:cNvSpPr>
                  <a:spLocks noChangeShapeType="1"/>
                </p:cNvSpPr>
                <p:nvPr/>
              </p:nvSpPr>
              <p:spPr bwMode="gray">
                <a:xfrm flipV="1">
                  <a:off x="836" y="1692"/>
                  <a:ext cx="1" cy="1154"/>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grpSp>
          <p:grpSp>
            <p:nvGrpSpPr>
              <p:cNvPr id="8" name="Group 286"/>
              <p:cNvGrpSpPr>
                <a:grpSpLocks/>
              </p:cNvGrpSpPr>
              <p:nvPr>
                <p:custDataLst>
                  <p:tags r:id="rId68"/>
                </p:custDataLst>
              </p:nvPr>
            </p:nvGrpSpPr>
            <p:grpSpPr bwMode="auto">
              <a:xfrm>
                <a:off x="950" y="1919"/>
                <a:ext cx="100" cy="63"/>
                <a:chOff x="1668" y="2987"/>
                <a:chExt cx="218" cy="138"/>
              </a:xfrm>
            </p:grpSpPr>
            <p:sp>
              <p:nvSpPr>
                <p:cNvPr id="25100" name="Oval 287"/>
                <p:cNvSpPr>
                  <a:spLocks noChangeArrowheads="1"/>
                </p:cNvSpPr>
                <p:nvPr>
                  <p:custDataLst>
                    <p:tags r:id="rId125"/>
                  </p:custDataLst>
                </p:nvPr>
              </p:nvSpPr>
              <p:spPr bwMode="gray">
                <a:xfrm>
                  <a:off x="1668" y="3023"/>
                  <a:ext cx="218" cy="98"/>
                </a:xfrm>
                <a:prstGeom prst="ellipse">
                  <a:avLst/>
                </a:prstGeom>
                <a:gradFill rotWithShape="1">
                  <a:gsLst>
                    <a:gs pos="0">
                      <a:schemeClr val="tx1"/>
                    </a:gs>
                    <a:gs pos="100000">
                      <a:schemeClr val="bg1"/>
                    </a:gs>
                  </a:gsLst>
                  <a:path path="shape">
                    <a:fillToRect l="50000" t="50000" r="50000" b="50000"/>
                  </a:path>
                </a:gradFill>
                <a:ln w="9525">
                  <a:no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101" name="Freeform 288"/>
                <p:cNvSpPr>
                  <a:spLocks/>
                </p:cNvSpPr>
                <p:nvPr>
                  <p:custDataLst>
                    <p:tags r:id="rId126"/>
                  </p:custDataLst>
                </p:nvPr>
              </p:nvSpPr>
              <p:spPr bwMode="gray">
                <a:xfrm>
                  <a:off x="1698" y="3026"/>
                  <a:ext cx="182" cy="99"/>
                </a:xfrm>
                <a:custGeom>
                  <a:avLst/>
                  <a:gdLst>
                    <a:gd name="T0" fmla="*/ 57 w 150"/>
                    <a:gd name="T1" fmla="*/ 0 h 72"/>
                    <a:gd name="T2" fmla="*/ 0 w 150"/>
                    <a:gd name="T3" fmla="*/ 47 h 72"/>
                    <a:gd name="T4" fmla="*/ 61 w 150"/>
                    <a:gd name="T5" fmla="*/ 187 h 72"/>
                    <a:gd name="T6" fmla="*/ 268 w 150"/>
                    <a:gd name="T7" fmla="*/ 36 h 72"/>
                    <a:gd name="T8" fmla="*/ 178 w 150"/>
                    <a:gd name="T9" fmla="*/ 15 h 72"/>
                    <a:gd name="T10" fmla="*/ 0 60000 65536"/>
                    <a:gd name="T11" fmla="*/ 0 60000 65536"/>
                    <a:gd name="T12" fmla="*/ 0 60000 65536"/>
                    <a:gd name="T13" fmla="*/ 0 60000 65536"/>
                    <a:gd name="T14" fmla="*/ 0 60000 65536"/>
                    <a:gd name="T15" fmla="*/ 0 w 150"/>
                    <a:gd name="T16" fmla="*/ 0 h 72"/>
                    <a:gd name="T17" fmla="*/ 150 w 150"/>
                    <a:gd name="T18" fmla="*/ 72 h 72"/>
                  </a:gdLst>
                  <a:ahLst/>
                  <a:cxnLst>
                    <a:cxn ang="T10">
                      <a:pos x="T0" y="T1"/>
                    </a:cxn>
                    <a:cxn ang="T11">
                      <a:pos x="T2" y="T3"/>
                    </a:cxn>
                    <a:cxn ang="T12">
                      <a:pos x="T4" y="T5"/>
                    </a:cxn>
                    <a:cxn ang="T13">
                      <a:pos x="T6" y="T7"/>
                    </a:cxn>
                    <a:cxn ang="T14">
                      <a:pos x="T8" y="T9"/>
                    </a:cxn>
                  </a:cxnLst>
                  <a:rect l="T15" t="T16" r="T17" b="T18"/>
                  <a:pathLst>
                    <a:path w="150" h="72">
                      <a:moveTo>
                        <a:pt x="32" y="0"/>
                      </a:moveTo>
                      <a:lnTo>
                        <a:pt x="0" y="18"/>
                      </a:lnTo>
                      <a:lnTo>
                        <a:pt x="34" y="72"/>
                      </a:lnTo>
                      <a:lnTo>
                        <a:pt x="150" y="14"/>
                      </a:lnTo>
                      <a:lnTo>
                        <a:pt x="100" y="6"/>
                      </a:lnTo>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02" name="Freeform 289"/>
                <p:cNvSpPr>
                  <a:spLocks/>
                </p:cNvSpPr>
                <p:nvPr>
                  <p:custDataLst>
                    <p:tags r:id="rId127"/>
                  </p:custDataLst>
                </p:nvPr>
              </p:nvSpPr>
              <p:spPr bwMode="gray">
                <a:xfrm>
                  <a:off x="1698" y="3019"/>
                  <a:ext cx="70" cy="105"/>
                </a:xfrm>
                <a:custGeom>
                  <a:avLst/>
                  <a:gdLst>
                    <a:gd name="T0" fmla="*/ 58 w 58"/>
                    <a:gd name="T1" fmla="*/ 200 h 76"/>
                    <a:gd name="T2" fmla="*/ 101 w 58"/>
                    <a:gd name="T3" fmla="*/ 82 h 76"/>
                    <a:gd name="T4" fmla="*/ 65 w 58"/>
                    <a:gd name="T5" fmla="*/ 0 h 76"/>
                    <a:gd name="T6" fmla="*/ 0 w 58"/>
                    <a:gd name="T7" fmla="*/ 55 h 76"/>
                    <a:gd name="T8" fmla="*/ 58 w 58"/>
                    <a:gd name="T9" fmla="*/ 200 h 76"/>
                    <a:gd name="T10" fmla="*/ 0 60000 65536"/>
                    <a:gd name="T11" fmla="*/ 0 60000 65536"/>
                    <a:gd name="T12" fmla="*/ 0 60000 65536"/>
                    <a:gd name="T13" fmla="*/ 0 60000 65536"/>
                    <a:gd name="T14" fmla="*/ 0 60000 65536"/>
                    <a:gd name="T15" fmla="*/ 0 w 58"/>
                    <a:gd name="T16" fmla="*/ 0 h 76"/>
                    <a:gd name="T17" fmla="*/ 58 w 58"/>
                    <a:gd name="T18" fmla="*/ 76 h 76"/>
                  </a:gdLst>
                  <a:ahLst/>
                  <a:cxnLst>
                    <a:cxn ang="T10">
                      <a:pos x="T0" y="T1"/>
                    </a:cxn>
                    <a:cxn ang="T11">
                      <a:pos x="T2" y="T3"/>
                    </a:cxn>
                    <a:cxn ang="T12">
                      <a:pos x="T4" y="T5"/>
                    </a:cxn>
                    <a:cxn ang="T13">
                      <a:pos x="T6" y="T7"/>
                    </a:cxn>
                    <a:cxn ang="T14">
                      <a:pos x="T8" y="T9"/>
                    </a:cxn>
                  </a:cxnLst>
                  <a:rect l="T15" t="T16" r="T17" b="T18"/>
                  <a:pathLst>
                    <a:path w="58" h="76">
                      <a:moveTo>
                        <a:pt x="33" y="76"/>
                      </a:moveTo>
                      <a:lnTo>
                        <a:pt x="58" y="31"/>
                      </a:lnTo>
                      <a:lnTo>
                        <a:pt x="37" y="0"/>
                      </a:lnTo>
                      <a:lnTo>
                        <a:pt x="0" y="21"/>
                      </a:lnTo>
                      <a:lnTo>
                        <a:pt x="33" y="76"/>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103" name="Freeform 290"/>
                <p:cNvSpPr>
                  <a:spLocks/>
                </p:cNvSpPr>
                <p:nvPr>
                  <p:custDataLst>
                    <p:tags r:id="rId128"/>
                  </p:custDataLst>
                </p:nvPr>
              </p:nvSpPr>
              <p:spPr bwMode="gray">
                <a:xfrm>
                  <a:off x="1732" y="2987"/>
                  <a:ext cx="146" cy="58"/>
                </a:xfrm>
                <a:custGeom>
                  <a:avLst/>
                  <a:gdLst>
                    <a:gd name="T0" fmla="*/ 217 w 120"/>
                    <a:gd name="T1" fmla="*/ 110 h 42"/>
                    <a:gd name="T2" fmla="*/ 118 w 120"/>
                    <a:gd name="T3" fmla="*/ 0 h 42"/>
                    <a:gd name="T4" fmla="*/ 0 w 120"/>
                    <a:gd name="T5" fmla="*/ 76 h 42"/>
                    <a:gd name="T6" fmla="*/ 217 w 120"/>
                    <a:gd name="T7" fmla="*/ 110 h 42"/>
                    <a:gd name="T8" fmla="*/ 0 60000 65536"/>
                    <a:gd name="T9" fmla="*/ 0 60000 65536"/>
                    <a:gd name="T10" fmla="*/ 0 60000 65536"/>
                    <a:gd name="T11" fmla="*/ 0 60000 65536"/>
                    <a:gd name="T12" fmla="*/ 0 w 120"/>
                    <a:gd name="T13" fmla="*/ 0 h 42"/>
                    <a:gd name="T14" fmla="*/ 120 w 120"/>
                    <a:gd name="T15" fmla="*/ 42 h 42"/>
                  </a:gdLst>
                  <a:ahLst/>
                  <a:cxnLst>
                    <a:cxn ang="T8">
                      <a:pos x="T0" y="T1"/>
                    </a:cxn>
                    <a:cxn ang="T9">
                      <a:pos x="T2" y="T3"/>
                    </a:cxn>
                    <a:cxn ang="T10">
                      <a:pos x="T4" y="T5"/>
                    </a:cxn>
                    <a:cxn ang="T11">
                      <a:pos x="T6" y="T7"/>
                    </a:cxn>
                  </a:cxnLst>
                  <a:rect l="T12" t="T13" r="T14" b="T15"/>
                  <a:pathLst>
                    <a:path w="120" h="42">
                      <a:moveTo>
                        <a:pt x="120" y="42"/>
                      </a:moveTo>
                      <a:lnTo>
                        <a:pt x="66" y="0"/>
                      </a:lnTo>
                      <a:lnTo>
                        <a:pt x="0" y="29"/>
                      </a:lnTo>
                      <a:lnTo>
                        <a:pt x="120" y="42"/>
                      </a:lnTo>
                      <a:close/>
                    </a:path>
                  </a:pathLst>
                </a:custGeom>
                <a:solidFill>
                  <a:schemeClr val="bg1"/>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grpSp>
            <p:nvGrpSpPr>
              <p:cNvPr id="9" name="Group 291"/>
              <p:cNvGrpSpPr>
                <a:grpSpLocks/>
              </p:cNvGrpSpPr>
              <p:nvPr>
                <p:custDataLst>
                  <p:tags r:id="rId69"/>
                </p:custDataLst>
              </p:nvPr>
            </p:nvGrpSpPr>
            <p:grpSpPr bwMode="auto">
              <a:xfrm>
                <a:off x="981" y="1269"/>
                <a:ext cx="36" cy="685"/>
                <a:chOff x="808" y="1656"/>
                <a:chExt cx="64" cy="1192"/>
              </a:xfrm>
            </p:grpSpPr>
            <p:sp>
              <p:nvSpPr>
                <p:cNvPr id="25098" name="Freeform 292"/>
                <p:cNvSpPr>
                  <a:spLocks/>
                </p:cNvSpPr>
                <p:nvPr>
                  <p:custDataLst>
                    <p:tags r:id="rId124"/>
                  </p:custDataLst>
                </p:nvPr>
              </p:nvSpPr>
              <p:spPr bwMode="gray">
                <a:xfrm>
                  <a:off x="808" y="1656"/>
                  <a:ext cx="64" cy="1192"/>
                </a:xfrm>
                <a:custGeom>
                  <a:avLst/>
                  <a:gdLst>
                    <a:gd name="T0" fmla="*/ 4 w 64"/>
                    <a:gd name="T1" fmla="*/ 1164 h 1192"/>
                    <a:gd name="T2" fmla="*/ 24 w 64"/>
                    <a:gd name="T3" fmla="*/ 1192 h 1192"/>
                    <a:gd name="T4" fmla="*/ 64 w 64"/>
                    <a:gd name="T5" fmla="*/ 1172 h 1192"/>
                    <a:gd name="T6" fmla="*/ 64 w 64"/>
                    <a:gd name="T7" fmla="*/ 0 h 1192"/>
                    <a:gd name="T8" fmla="*/ 28 w 64"/>
                    <a:gd name="T9" fmla="*/ 36 h 1192"/>
                    <a:gd name="T10" fmla="*/ 0 w 64"/>
                    <a:gd name="T11" fmla="*/ 20 h 1192"/>
                    <a:gd name="T12" fmla="*/ 4 w 64"/>
                    <a:gd name="T13" fmla="*/ 1164 h 1192"/>
                    <a:gd name="T14" fmla="*/ 0 60000 65536"/>
                    <a:gd name="T15" fmla="*/ 0 60000 65536"/>
                    <a:gd name="T16" fmla="*/ 0 60000 65536"/>
                    <a:gd name="T17" fmla="*/ 0 60000 65536"/>
                    <a:gd name="T18" fmla="*/ 0 60000 65536"/>
                    <a:gd name="T19" fmla="*/ 0 60000 65536"/>
                    <a:gd name="T20" fmla="*/ 0 60000 65536"/>
                    <a:gd name="T21" fmla="*/ 0 w 64"/>
                    <a:gd name="T22" fmla="*/ 0 h 1192"/>
                    <a:gd name="T23" fmla="*/ 64 w 64"/>
                    <a:gd name="T24" fmla="*/ 1192 h 1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1192">
                      <a:moveTo>
                        <a:pt x="4" y="1164"/>
                      </a:moveTo>
                      <a:lnTo>
                        <a:pt x="24" y="1192"/>
                      </a:lnTo>
                      <a:lnTo>
                        <a:pt x="64" y="1172"/>
                      </a:lnTo>
                      <a:lnTo>
                        <a:pt x="64" y="0"/>
                      </a:lnTo>
                      <a:lnTo>
                        <a:pt x="28" y="36"/>
                      </a:lnTo>
                      <a:lnTo>
                        <a:pt x="0" y="20"/>
                      </a:lnTo>
                      <a:lnTo>
                        <a:pt x="4" y="1164"/>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99" name="Line 293"/>
                <p:cNvSpPr>
                  <a:spLocks noChangeShapeType="1"/>
                </p:cNvSpPr>
                <p:nvPr/>
              </p:nvSpPr>
              <p:spPr bwMode="gray">
                <a:xfrm flipV="1">
                  <a:off x="836" y="1692"/>
                  <a:ext cx="1" cy="1154"/>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grpSp>
          <p:grpSp>
            <p:nvGrpSpPr>
              <p:cNvPr id="10" name="Group 294"/>
              <p:cNvGrpSpPr>
                <a:grpSpLocks/>
              </p:cNvGrpSpPr>
              <p:nvPr>
                <p:custDataLst>
                  <p:tags r:id="rId70"/>
                </p:custDataLst>
              </p:nvPr>
            </p:nvGrpSpPr>
            <p:grpSpPr bwMode="auto">
              <a:xfrm>
                <a:off x="1107" y="1510"/>
                <a:ext cx="238" cy="75"/>
                <a:chOff x="1738" y="2387"/>
                <a:chExt cx="599" cy="164"/>
              </a:xfrm>
            </p:grpSpPr>
            <p:sp>
              <p:nvSpPr>
                <p:cNvPr id="25096" name="Freeform 295"/>
                <p:cNvSpPr>
                  <a:spLocks/>
                </p:cNvSpPr>
                <p:nvPr>
                  <p:custDataLst>
                    <p:tags r:id="rId123"/>
                  </p:custDataLst>
                </p:nvPr>
              </p:nvSpPr>
              <p:spPr bwMode="gray">
                <a:xfrm>
                  <a:off x="1738" y="2387"/>
                  <a:ext cx="596" cy="164"/>
                </a:xfrm>
                <a:custGeom>
                  <a:avLst/>
                  <a:gdLst>
                    <a:gd name="T0" fmla="*/ 0 w 596"/>
                    <a:gd name="T1" fmla="*/ 0 h 164"/>
                    <a:gd name="T2" fmla="*/ 596 w 596"/>
                    <a:gd name="T3" fmla="*/ 96 h 164"/>
                    <a:gd name="T4" fmla="*/ 596 w 596"/>
                    <a:gd name="T5" fmla="*/ 164 h 164"/>
                    <a:gd name="T6" fmla="*/ 0 w 596"/>
                    <a:gd name="T7" fmla="*/ 68 h 164"/>
                    <a:gd name="T8" fmla="*/ 0 w 596"/>
                    <a:gd name="T9" fmla="*/ 0 h 164"/>
                    <a:gd name="T10" fmla="*/ 0 60000 65536"/>
                    <a:gd name="T11" fmla="*/ 0 60000 65536"/>
                    <a:gd name="T12" fmla="*/ 0 60000 65536"/>
                    <a:gd name="T13" fmla="*/ 0 60000 65536"/>
                    <a:gd name="T14" fmla="*/ 0 60000 65536"/>
                    <a:gd name="T15" fmla="*/ 0 w 596"/>
                    <a:gd name="T16" fmla="*/ 0 h 164"/>
                    <a:gd name="T17" fmla="*/ 596 w 596"/>
                    <a:gd name="T18" fmla="*/ 164 h 164"/>
                  </a:gdLst>
                  <a:ahLst/>
                  <a:cxnLst>
                    <a:cxn ang="T10">
                      <a:pos x="T0" y="T1"/>
                    </a:cxn>
                    <a:cxn ang="T11">
                      <a:pos x="T2" y="T3"/>
                    </a:cxn>
                    <a:cxn ang="T12">
                      <a:pos x="T4" y="T5"/>
                    </a:cxn>
                    <a:cxn ang="T13">
                      <a:pos x="T6" y="T7"/>
                    </a:cxn>
                    <a:cxn ang="T14">
                      <a:pos x="T8" y="T9"/>
                    </a:cxn>
                  </a:cxnLst>
                  <a:rect l="T15" t="T16" r="T17" b="T18"/>
                  <a:pathLst>
                    <a:path w="596" h="164">
                      <a:moveTo>
                        <a:pt x="0" y="0"/>
                      </a:moveTo>
                      <a:lnTo>
                        <a:pt x="596" y="96"/>
                      </a:lnTo>
                      <a:lnTo>
                        <a:pt x="596" y="164"/>
                      </a:lnTo>
                      <a:lnTo>
                        <a:pt x="0" y="68"/>
                      </a:lnTo>
                      <a:lnTo>
                        <a:pt x="0" y="0"/>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97" name="Line 296"/>
                <p:cNvSpPr>
                  <a:spLocks noChangeShapeType="1"/>
                </p:cNvSpPr>
                <p:nvPr/>
              </p:nvSpPr>
              <p:spPr bwMode="gray">
                <a:xfrm>
                  <a:off x="1740" y="2418"/>
                  <a:ext cx="597" cy="96"/>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grpSp>
          <p:grpSp>
            <p:nvGrpSpPr>
              <p:cNvPr id="11" name="Group 297"/>
              <p:cNvGrpSpPr>
                <a:grpSpLocks/>
              </p:cNvGrpSpPr>
              <p:nvPr>
                <p:custDataLst>
                  <p:tags r:id="rId71"/>
                </p:custDataLst>
              </p:nvPr>
            </p:nvGrpSpPr>
            <p:grpSpPr bwMode="auto">
              <a:xfrm>
                <a:off x="1237" y="1305"/>
                <a:ext cx="36" cy="649"/>
                <a:chOff x="808" y="1656"/>
                <a:chExt cx="64" cy="1192"/>
              </a:xfrm>
            </p:grpSpPr>
            <p:sp>
              <p:nvSpPr>
                <p:cNvPr id="25094" name="Freeform 298"/>
                <p:cNvSpPr>
                  <a:spLocks/>
                </p:cNvSpPr>
                <p:nvPr>
                  <p:custDataLst>
                    <p:tags r:id="rId122"/>
                  </p:custDataLst>
                </p:nvPr>
              </p:nvSpPr>
              <p:spPr bwMode="gray">
                <a:xfrm>
                  <a:off x="808" y="1656"/>
                  <a:ext cx="64" cy="1192"/>
                </a:xfrm>
                <a:custGeom>
                  <a:avLst/>
                  <a:gdLst>
                    <a:gd name="T0" fmla="*/ 4 w 64"/>
                    <a:gd name="T1" fmla="*/ 1164 h 1192"/>
                    <a:gd name="T2" fmla="*/ 24 w 64"/>
                    <a:gd name="T3" fmla="*/ 1192 h 1192"/>
                    <a:gd name="T4" fmla="*/ 64 w 64"/>
                    <a:gd name="T5" fmla="*/ 1172 h 1192"/>
                    <a:gd name="T6" fmla="*/ 64 w 64"/>
                    <a:gd name="T7" fmla="*/ 0 h 1192"/>
                    <a:gd name="T8" fmla="*/ 28 w 64"/>
                    <a:gd name="T9" fmla="*/ 36 h 1192"/>
                    <a:gd name="T10" fmla="*/ 0 w 64"/>
                    <a:gd name="T11" fmla="*/ 20 h 1192"/>
                    <a:gd name="T12" fmla="*/ 4 w 64"/>
                    <a:gd name="T13" fmla="*/ 1164 h 1192"/>
                    <a:gd name="T14" fmla="*/ 0 60000 65536"/>
                    <a:gd name="T15" fmla="*/ 0 60000 65536"/>
                    <a:gd name="T16" fmla="*/ 0 60000 65536"/>
                    <a:gd name="T17" fmla="*/ 0 60000 65536"/>
                    <a:gd name="T18" fmla="*/ 0 60000 65536"/>
                    <a:gd name="T19" fmla="*/ 0 60000 65536"/>
                    <a:gd name="T20" fmla="*/ 0 60000 65536"/>
                    <a:gd name="T21" fmla="*/ 0 w 64"/>
                    <a:gd name="T22" fmla="*/ 0 h 1192"/>
                    <a:gd name="T23" fmla="*/ 64 w 64"/>
                    <a:gd name="T24" fmla="*/ 1192 h 1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1192">
                      <a:moveTo>
                        <a:pt x="4" y="1164"/>
                      </a:moveTo>
                      <a:lnTo>
                        <a:pt x="24" y="1192"/>
                      </a:lnTo>
                      <a:lnTo>
                        <a:pt x="64" y="1172"/>
                      </a:lnTo>
                      <a:lnTo>
                        <a:pt x="64" y="0"/>
                      </a:lnTo>
                      <a:lnTo>
                        <a:pt x="28" y="36"/>
                      </a:lnTo>
                      <a:lnTo>
                        <a:pt x="0" y="20"/>
                      </a:lnTo>
                      <a:lnTo>
                        <a:pt x="4" y="1164"/>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95" name="Line 299"/>
                <p:cNvSpPr>
                  <a:spLocks noChangeShapeType="1"/>
                </p:cNvSpPr>
                <p:nvPr/>
              </p:nvSpPr>
              <p:spPr bwMode="gray">
                <a:xfrm flipV="1">
                  <a:off x="836" y="1692"/>
                  <a:ext cx="1" cy="1154"/>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grpSp>
          <p:sp>
            <p:nvSpPr>
              <p:cNvPr id="25042" name="Freeform 300"/>
              <p:cNvSpPr>
                <a:spLocks/>
              </p:cNvSpPr>
              <p:nvPr>
                <p:custDataLst>
                  <p:tags r:id="rId72"/>
                </p:custDataLst>
              </p:nvPr>
            </p:nvSpPr>
            <p:spPr bwMode="gray">
              <a:xfrm>
                <a:off x="982" y="1724"/>
                <a:ext cx="270" cy="74"/>
              </a:xfrm>
              <a:custGeom>
                <a:avLst/>
                <a:gdLst>
                  <a:gd name="T0" fmla="*/ 0 w 596"/>
                  <a:gd name="T1" fmla="*/ 0 h 164"/>
                  <a:gd name="T2" fmla="*/ 55 w 596"/>
                  <a:gd name="T3" fmla="*/ 9 h 164"/>
                  <a:gd name="T4" fmla="*/ 55 w 596"/>
                  <a:gd name="T5" fmla="*/ 15 h 164"/>
                  <a:gd name="T6" fmla="*/ 0 w 596"/>
                  <a:gd name="T7" fmla="*/ 6 h 164"/>
                  <a:gd name="T8" fmla="*/ 0 w 596"/>
                  <a:gd name="T9" fmla="*/ 0 h 164"/>
                  <a:gd name="T10" fmla="*/ 0 60000 65536"/>
                  <a:gd name="T11" fmla="*/ 0 60000 65536"/>
                  <a:gd name="T12" fmla="*/ 0 60000 65536"/>
                  <a:gd name="T13" fmla="*/ 0 60000 65536"/>
                  <a:gd name="T14" fmla="*/ 0 60000 65536"/>
                  <a:gd name="T15" fmla="*/ 0 w 596"/>
                  <a:gd name="T16" fmla="*/ 0 h 164"/>
                  <a:gd name="T17" fmla="*/ 596 w 596"/>
                  <a:gd name="T18" fmla="*/ 164 h 164"/>
                </a:gdLst>
                <a:ahLst/>
                <a:cxnLst>
                  <a:cxn ang="T10">
                    <a:pos x="T0" y="T1"/>
                  </a:cxn>
                  <a:cxn ang="T11">
                    <a:pos x="T2" y="T3"/>
                  </a:cxn>
                  <a:cxn ang="T12">
                    <a:pos x="T4" y="T5"/>
                  </a:cxn>
                  <a:cxn ang="T13">
                    <a:pos x="T6" y="T7"/>
                  </a:cxn>
                  <a:cxn ang="T14">
                    <a:pos x="T8" y="T9"/>
                  </a:cxn>
                </a:cxnLst>
                <a:rect l="T15" t="T16" r="T17" b="T18"/>
                <a:pathLst>
                  <a:path w="596" h="164">
                    <a:moveTo>
                      <a:pt x="0" y="0"/>
                    </a:moveTo>
                    <a:lnTo>
                      <a:pt x="596" y="96"/>
                    </a:lnTo>
                    <a:lnTo>
                      <a:pt x="596" y="164"/>
                    </a:lnTo>
                    <a:lnTo>
                      <a:pt x="0" y="68"/>
                    </a:lnTo>
                    <a:lnTo>
                      <a:pt x="0" y="0"/>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43" name="Line 301"/>
              <p:cNvSpPr>
                <a:spLocks noChangeShapeType="1"/>
              </p:cNvSpPr>
              <p:nvPr>
                <p:custDataLst>
                  <p:tags r:id="rId73"/>
                </p:custDataLst>
              </p:nvPr>
            </p:nvSpPr>
            <p:spPr bwMode="gray">
              <a:xfrm>
                <a:off x="983" y="1739"/>
                <a:ext cx="270" cy="43"/>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44" name="Freeform 302"/>
              <p:cNvSpPr>
                <a:spLocks/>
              </p:cNvSpPr>
              <p:nvPr>
                <p:custDataLst>
                  <p:tags r:id="rId74"/>
                </p:custDataLst>
              </p:nvPr>
            </p:nvSpPr>
            <p:spPr bwMode="gray">
              <a:xfrm>
                <a:off x="996" y="1284"/>
                <a:ext cx="257" cy="497"/>
              </a:xfrm>
              <a:custGeom>
                <a:avLst/>
                <a:gdLst>
                  <a:gd name="T0" fmla="*/ 0 w 567"/>
                  <a:gd name="T1" fmla="*/ 6 h 1151"/>
                  <a:gd name="T2" fmla="*/ 49 w 567"/>
                  <a:gd name="T3" fmla="*/ 92 h 1151"/>
                  <a:gd name="T4" fmla="*/ 53 w 567"/>
                  <a:gd name="T5" fmla="*/ 93 h 1151"/>
                  <a:gd name="T6" fmla="*/ 0 w 567"/>
                  <a:gd name="T7" fmla="*/ 0 h 1151"/>
                  <a:gd name="T8" fmla="*/ 0 w 567"/>
                  <a:gd name="T9" fmla="*/ 6 h 1151"/>
                  <a:gd name="T10" fmla="*/ 0 60000 65536"/>
                  <a:gd name="T11" fmla="*/ 0 60000 65536"/>
                  <a:gd name="T12" fmla="*/ 0 60000 65536"/>
                  <a:gd name="T13" fmla="*/ 0 60000 65536"/>
                  <a:gd name="T14" fmla="*/ 0 60000 65536"/>
                  <a:gd name="T15" fmla="*/ 0 w 567"/>
                  <a:gd name="T16" fmla="*/ 0 h 1151"/>
                  <a:gd name="T17" fmla="*/ 567 w 567"/>
                  <a:gd name="T18" fmla="*/ 1151 h 1151"/>
                </a:gdLst>
                <a:ahLst/>
                <a:cxnLst>
                  <a:cxn ang="T10">
                    <a:pos x="T0" y="T1"/>
                  </a:cxn>
                  <a:cxn ang="T11">
                    <a:pos x="T2" y="T3"/>
                  </a:cxn>
                  <a:cxn ang="T12">
                    <a:pos x="T4" y="T5"/>
                  </a:cxn>
                  <a:cxn ang="T13">
                    <a:pos x="T6" y="T7"/>
                  </a:cxn>
                  <a:cxn ang="T14">
                    <a:pos x="T8" y="T9"/>
                  </a:cxn>
                </a:cxnLst>
                <a:rect l="T15" t="T16" r="T17" b="T18"/>
                <a:pathLst>
                  <a:path w="567" h="1151">
                    <a:moveTo>
                      <a:pt x="3" y="75"/>
                    </a:moveTo>
                    <a:lnTo>
                      <a:pt x="527" y="1143"/>
                    </a:lnTo>
                    <a:lnTo>
                      <a:pt x="567" y="1151"/>
                    </a:lnTo>
                    <a:lnTo>
                      <a:pt x="0" y="0"/>
                    </a:lnTo>
                    <a:lnTo>
                      <a:pt x="3" y="75"/>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nvGrpSpPr>
              <p:cNvPr id="12" name="Group 303"/>
              <p:cNvGrpSpPr>
                <a:grpSpLocks/>
              </p:cNvGrpSpPr>
              <p:nvPr>
                <p:custDataLst>
                  <p:tags r:id="rId75"/>
                </p:custDataLst>
              </p:nvPr>
            </p:nvGrpSpPr>
            <p:grpSpPr bwMode="auto">
              <a:xfrm>
                <a:off x="550" y="1276"/>
                <a:ext cx="238" cy="538"/>
                <a:chOff x="621" y="846"/>
                <a:chExt cx="318" cy="719"/>
              </a:xfrm>
            </p:grpSpPr>
            <p:sp>
              <p:nvSpPr>
                <p:cNvPr id="25085" name="Freeform 304"/>
                <p:cNvSpPr>
                  <a:spLocks/>
                </p:cNvSpPr>
                <p:nvPr>
                  <p:custDataLst>
                    <p:tags r:id="rId115"/>
                  </p:custDataLst>
                </p:nvPr>
              </p:nvSpPr>
              <p:spPr bwMode="gray">
                <a:xfrm>
                  <a:off x="655" y="1154"/>
                  <a:ext cx="237" cy="140"/>
                </a:xfrm>
                <a:custGeom>
                  <a:avLst/>
                  <a:gdLst>
                    <a:gd name="T0" fmla="*/ 0 w 237"/>
                    <a:gd name="T1" fmla="*/ 140 h 140"/>
                    <a:gd name="T2" fmla="*/ 136 w 237"/>
                    <a:gd name="T3" fmla="*/ 0 h 140"/>
                    <a:gd name="T4" fmla="*/ 237 w 237"/>
                    <a:gd name="T5" fmla="*/ 138 h 140"/>
                    <a:gd name="T6" fmla="*/ 0 60000 65536"/>
                    <a:gd name="T7" fmla="*/ 0 60000 65536"/>
                    <a:gd name="T8" fmla="*/ 0 60000 65536"/>
                    <a:gd name="T9" fmla="*/ 0 w 237"/>
                    <a:gd name="T10" fmla="*/ 0 h 140"/>
                    <a:gd name="T11" fmla="*/ 237 w 237"/>
                    <a:gd name="T12" fmla="*/ 140 h 140"/>
                  </a:gdLst>
                  <a:ahLst/>
                  <a:cxnLst>
                    <a:cxn ang="T6">
                      <a:pos x="T0" y="T1"/>
                    </a:cxn>
                    <a:cxn ang="T7">
                      <a:pos x="T2" y="T3"/>
                    </a:cxn>
                    <a:cxn ang="T8">
                      <a:pos x="T4" y="T5"/>
                    </a:cxn>
                  </a:cxnLst>
                  <a:rect l="T9" t="T10" r="T11" b="T12"/>
                  <a:pathLst>
                    <a:path w="237" h="140">
                      <a:moveTo>
                        <a:pt x="0" y="140"/>
                      </a:moveTo>
                      <a:lnTo>
                        <a:pt x="136" y="0"/>
                      </a:lnTo>
                      <a:lnTo>
                        <a:pt x="237" y="138"/>
                      </a:lnTo>
                    </a:path>
                  </a:pathLst>
                </a:custGeom>
                <a:no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nvGrpSpPr>
                <p:cNvPr id="13" name="Group 305"/>
                <p:cNvGrpSpPr>
                  <a:grpSpLocks/>
                </p:cNvGrpSpPr>
                <p:nvPr>
                  <p:custDataLst>
                    <p:tags r:id="rId116"/>
                  </p:custDataLst>
                </p:nvPr>
              </p:nvGrpSpPr>
              <p:grpSpPr bwMode="auto">
                <a:xfrm>
                  <a:off x="742" y="846"/>
                  <a:ext cx="106" cy="105"/>
                  <a:chOff x="1930" y="1443"/>
                  <a:chExt cx="184" cy="184"/>
                </a:xfrm>
              </p:grpSpPr>
              <p:sp>
                <p:nvSpPr>
                  <p:cNvPr id="25092" name="Oval 306"/>
                  <p:cNvSpPr>
                    <a:spLocks noChangeArrowheads="1"/>
                  </p:cNvSpPr>
                  <p:nvPr/>
                </p:nvSpPr>
                <p:spPr bwMode="gray">
                  <a:xfrm>
                    <a:off x="1930" y="1443"/>
                    <a:ext cx="184" cy="184"/>
                  </a:xfrm>
                  <a:prstGeom prst="ellipse">
                    <a:avLst/>
                  </a:prstGeom>
                  <a:solidFill>
                    <a:schemeClr val="bg1"/>
                  </a:solidFill>
                  <a:ln w="9525">
                    <a:solidFill>
                      <a:srgbClr val="C0C0C0"/>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93" name="Oval 307"/>
                  <p:cNvSpPr>
                    <a:spLocks noChangeArrowheads="1"/>
                  </p:cNvSpPr>
                  <p:nvPr/>
                </p:nvSpPr>
                <p:spPr bwMode="gray">
                  <a:xfrm>
                    <a:off x="1990" y="1501"/>
                    <a:ext cx="64" cy="68"/>
                  </a:xfrm>
                  <a:prstGeom prst="ellipse">
                    <a:avLst/>
                  </a:prstGeom>
                  <a:solidFill>
                    <a:srgbClr val="C0C0C0"/>
                  </a:solidFill>
                  <a:ln w="9525">
                    <a:solidFill>
                      <a:srgbClr val="C0C0C0"/>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grpSp>
            <p:sp>
              <p:nvSpPr>
                <p:cNvPr id="25087" name="Freeform 308"/>
                <p:cNvSpPr>
                  <a:spLocks/>
                </p:cNvSpPr>
                <p:nvPr>
                  <p:custDataLst>
                    <p:tags r:id="rId117"/>
                  </p:custDataLst>
                </p:nvPr>
              </p:nvSpPr>
              <p:spPr bwMode="gray">
                <a:xfrm>
                  <a:off x="767" y="914"/>
                  <a:ext cx="28" cy="153"/>
                </a:xfrm>
                <a:custGeom>
                  <a:avLst/>
                  <a:gdLst>
                    <a:gd name="T0" fmla="*/ 46 w 22"/>
                    <a:gd name="T1" fmla="*/ 0 h 404"/>
                    <a:gd name="T2" fmla="*/ 46 w 22"/>
                    <a:gd name="T3" fmla="*/ 11 h 404"/>
                    <a:gd name="T4" fmla="*/ 22 w 22"/>
                    <a:gd name="T5" fmla="*/ 22 h 404"/>
                    <a:gd name="T6" fmla="*/ 0 60000 65536"/>
                    <a:gd name="T7" fmla="*/ 0 60000 65536"/>
                    <a:gd name="T8" fmla="*/ 0 60000 65536"/>
                    <a:gd name="T9" fmla="*/ 0 w 22"/>
                    <a:gd name="T10" fmla="*/ 0 h 404"/>
                    <a:gd name="T11" fmla="*/ 22 w 22"/>
                    <a:gd name="T12" fmla="*/ 404 h 404"/>
                  </a:gdLst>
                  <a:ahLst/>
                  <a:cxnLst>
                    <a:cxn ang="T6">
                      <a:pos x="T0" y="T1"/>
                    </a:cxn>
                    <a:cxn ang="T7">
                      <a:pos x="T2" y="T3"/>
                    </a:cxn>
                    <a:cxn ang="T8">
                      <a:pos x="T4" y="T5"/>
                    </a:cxn>
                  </a:cxnLst>
                  <a:rect l="T9" t="T10" r="T11" b="T12"/>
                  <a:pathLst>
                    <a:path w="22" h="404">
                      <a:moveTo>
                        <a:pt x="22" y="0"/>
                      </a:moveTo>
                      <a:cubicBezTo>
                        <a:pt x="0" y="65"/>
                        <a:pt x="9" y="136"/>
                        <a:pt x="22" y="202"/>
                      </a:cubicBezTo>
                      <a:cubicBezTo>
                        <a:pt x="19" y="268"/>
                        <a:pt x="10" y="337"/>
                        <a:pt x="10" y="404"/>
                      </a:cubicBezTo>
                    </a:path>
                  </a:pathLst>
                </a:cu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88" name="AutoShape 309"/>
                <p:cNvSpPr>
                  <a:spLocks noChangeArrowheads="1"/>
                </p:cNvSpPr>
                <p:nvPr>
                  <p:custDataLst>
                    <p:tags r:id="rId118"/>
                  </p:custDataLst>
                </p:nvPr>
              </p:nvSpPr>
              <p:spPr bwMode="gray">
                <a:xfrm>
                  <a:off x="621" y="1245"/>
                  <a:ext cx="318" cy="320"/>
                </a:xfrm>
                <a:prstGeom prst="cube">
                  <a:avLst>
                    <a:gd name="adj" fmla="val 25000"/>
                  </a:avLst>
                </a:prstGeom>
                <a:pattFill prst="ltVert">
                  <a:fgClr>
                    <a:schemeClr val="accent1"/>
                  </a:fgClr>
                  <a:bgClr>
                    <a:schemeClr val="bg1"/>
                  </a:bgClr>
                </a:pattFill>
                <a:ln w="9525">
                  <a:no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5089" name="Freeform 310"/>
                <p:cNvSpPr>
                  <a:spLocks/>
                </p:cNvSpPr>
                <p:nvPr>
                  <p:custDataLst>
                    <p:tags r:id="rId119"/>
                  </p:custDataLst>
                </p:nvPr>
              </p:nvSpPr>
              <p:spPr bwMode="gray">
                <a:xfrm flipV="1">
                  <a:off x="735" y="1039"/>
                  <a:ext cx="99" cy="146"/>
                </a:xfrm>
                <a:custGeom>
                  <a:avLst/>
                  <a:gdLst>
                    <a:gd name="T0" fmla="*/ 0 w 1112"/>
                    <a:gd name="T1" fmla="*/ 1 h 1611"/>
                    <a:gd name="T2" fmla="*/ 0 w 1112"/>
                    <a:gd name="T3" fmla="*/ 1 h 1611"/>
                    <a:gd name="T4" fmla="*/ 0 w 1112"/>
                    <a:gd name="T5" fmla="*/ 1 h 1611"/>
                    <a:gd name="T6" fmla="*/ 0 w 1112"/>
                    <a:gd name="T7" fmla="*/ 1 h 1611"/>
                    <a:gd name="T8" fmla="*/ 0 w 1112"/>
                    <a:gd name="T9" fmla="*/ 1 h 1611"/>
                    <a:gd name="T10" fmla="*/ 0 w 1112"/>
                    <a:gd name="T11" fmla="*/ 1 h 1611"/>
                    <a:gd name="T12" fmla="*/ 0 w 1112"/>
                    <a:gd name="T13" fmla="*/ 1 h 1611"/>
                    <a:gd name="T14" fmla="*/ 0 w 1112"/>
                    <a:gd name="T15" fmla="*/ 1 h 1611"/>
                    <a:gd name="T16" fmla="*/ 0 w 1112"/>
                    <a:gd name="T17" fmla="*/ 1 h 1611"/>
                    <a:gd name="T18" fmla="*/ 1 w 1112"/>
                    <a:gd name="T19" fmla="*/ 1 h 1611"/>
                    <a:gd name="T20" fmla="*/ 1 w 1112"/>
                    <a:gd name="T21" fmla="*/ 1 h 1611"/>
                    <a:gd name="T22" fmla="*/ 1 w 1112"/>
                    <a:gd name="T23" fmla="*/ 1 h 1611"/>
                    <a:gd name="T24" fmla="*/ 1 w 1112"/>
                    <a:gd name="T25" fmla="*/ 0 h 1611"/>
                    <a:gd name="T26" fmla="*/ 1 w 1112"/>
                    <a:gd name="T27" fmla="*/ 0 h 1611"/>
                    <a:gd name="T28" fmla="*/ 1 w 1112"/>
                    <a:gd name="T29" fmla="*/ 0 h 1611"/>
                    <a:gd name="T30" fmla="*/ 1 w 1112"/>
                    <a:gd name="T31" fmla="*/ 0 h 1611"/>
                    <a:gd name="T32" fmla="*/ 1 w 1112"/>
                    <a:gd name="T33" fmla="*/ 0 h 1611"/>
                    <a:gd name="T34" fmla="*/ 0 w 1112"/>
                    <a:gd name="T35" fmla="*/ 0 h 1611"/>
                    <a:gd name="T36" fmla="*/ 0 w 1112"/>
                    <a:gd name="T37" fmla="*/ 0 h 1611"/>
                    <a:gd name="T38" fmla="*/ 0 w 1112"/>
                    <a:gd name="T39" fmla="*/ 0 h 1611"/>
                    <a:gd name="T40" fmla="*/ 0 w 1112"/>
                    <a:gd name="T41" fmla="*/ 0 h 1611"/>
                    <a:gd name="T42" fmla="*/ 0 w 1112"/>
                    <a:gd name="T43" fmla="*/ 0 h 1611"/>
                    <a:gd name="T44" fmla="*/ 0 w 1112"/>
                    <a:gd name="T45" fmla="*/ 0 h 1611"/>
                    <a:gd name="T46" fmla="*/ 0 w 1112"/>
                    <a:gd name="T47" fmla="*/ 0 h 1611"/>
                    <a:gd name="T48" fmla="*/ 0 w 1112"/>
                    <a:gd name="T49" fmla="*/ 0 h 1611"/>
                    <a:gd name="T50" fmla="*/ 0 w 1112"/>
                    <a:gd name="T51" fmla="*/ 0 h 1611"/>
                    <a:gd name="T52" fmla="*/ 0 w 1112"/>
                    <a:gd name="T53" fmla="*/ 0 h 1611"/>
                    <a:gd name="T54" fmla="*/ 0 w 1112"/>
                    <a:gd name="T55" fmla="*/ 0 h 1611"/>
                    <a:gd name="T56" fmla="*/ 0 w 1112"/>
                    <a:gd name="T57" fmla="*/ 0 h 1611"/>
                    <a:gd name="T58" fmla="*/ 0 w 1112"/>
                    <a:gd name="T59" fmla="*/ 0 h 1611"/>
                    <a:gd name="T60" fmla="*/ 0 w 1112"/>
                    <a:gd name="T61" fmla="*/ 0 h 1611"/>
                    <a:gd name="T62" fmla="*/ 0 w 1112"/>
                    <a:gd name="T63" fmla="*/ 0 h 1611"/>
                    <a:gd name="T64" fmla="*/ 0 w 1112"/>
                    <a:gd name="T65" fmla="*/ 0 h 1611"/>
                    <a:gd name="T66" fmla="*/ 0 w 1112"/>
                    <a:gd name="T67" fmla="*/ 0 h 1611"/>
                    <a:gd name="T68" fmla="*/ 0 w 1112"/>
                    <a:gd name="T69" fmla="*/ 0 h 1611"/>
                    <a:gd name="T70" fmla="*/ 0 w 1112"/>
                    <a:gd name="T71" fmla="*/ 0 h 1611"/>
                    <a:gd name="T72" fmla="*/ 0 w 1112"/>
                    <a:gd name="T73" fmla="*/ 0 h 1611"/>
                    <a:gd name="T74" fmla="*/ 1 w 1112"/>
                    <a:gd name="T75" fmla="*/ 0 h 1611"/>
                    <a:gd name="T76" fmla="*/ 1 w 1112"/>
                    <a:gd name="T77" fmla="*/ 0 h 1611"/>
                    <a:gd name="T78" fmla="*/ 1 w 1112"/>
                    <a:gd name="T79" fmla="*/ 0 h 1611"/>
                    <a:gd name="T80" fmla="*/ 1 w 1112"/>
                    <a:gd name="T81" fmla="*/ 0 h 1611"/>
                    <a:gd name="T82" fmla="*/ 1 w 1112"/>
                    <a:gd name="T83" fmla="*/ 0 h 1611"/>
                    <a:gd name="T84" fmla="*/ 1 w 1112"/>
                    <a:gd name="T85" fmla="*/ 0 h 1611"/>
                    <a:gd name="T86" fmla="*/ 1 w 1112"/>
                    <a:gd name="T87" fmla="*/ 0 h 1611"/>
                    <a:gd name="T88" fmla="*/ 1 w 1112"/>
                    <a:gd name="T89" fmla="*/ 0 h 1611"/>
                    <a:gd name="T90" fmla="*/ 1 w 1112"/>
                    <a:gd name="T91" fmla="*/ 0 h 1611"/>
                    <a:gd name="T92" fmla="*/ 1 w 1112"/>
                    <a:gd name="T93" fmla="*/ 0 h 1611"/>
                    <a:gd name="T94" fmla="*/ 1 w 1112"/>
                    <a:gd name="T95" fmla="*/ 1 h 1611"/>
                    <a:gd name="T96" fmla="*/ 1 w 1112"/>
                    <a:gd name="T97" fmla="*/ 1 h 1611"/>
                    <a:gd name="T98" fmla="*/ 1 w 1112"/>
                    <a:gd name="T99" fmla="*/ 1 h 1611"/>
                    <a:gd name="T100" fmla="*/ 1 w 1112"/>
                    <a:gd name="T101" fmla="*/ 1 h 1611"/>
                    <a:gd name="T102" fmla="*/ 1 w 1112"/>
                    <a:gd name="T103" fmla="*/ 1 h 1611"/>
                    <a:gd name="T104" fmla="*/ 1 w 1112"/>
                    <a:gd name="T105" fmla="*/ 1 h 1611"/>
                    <a:gd name="T106" fmla="*/ 1 w 1112"/>
                    <a:gd name="T107" fmla="*/ 1 h 1611"/>
                    <a:gd name="T108" fmla="*/ 1 w 1112"/>
                    <a:gd name="T109" fmla="*/ 1 h 1611"/>
                    <a:gd name="T110" fmla="*/ 1 w 1112"/>
                    <a:gd name="T111" fmla="*/ 1 h 1611"/>
                    <a:gd name="T112" fmla="*/ 1 w 1112"/>
                    <a:gd name="T113" fmla="*/ 1 h 1611"/>
                    <a:gd name="T114" fmla="*/ 0 w 1112"/>
                    <a:gd name="T115" fmla="*/ 1 h 1611"/>
                    <a:gd name="T116" fmla="*/ 0 w 1112"/>
                    <a:gd name="T117" fmla="*/ 1 h 16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2"/>
                    <a:gd name="T178" fmla="*/ 0 h 1611"/>
                    <a:gd name="T179" fmla="*/ 1112 w 1112"/>
                    <a:gd name="T180" fmla="*/ 1611 h 16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2" h="1611">
                      <a:moveTo>
                        <a:pt x="681" y="1611"/>
                      </a:moveTo>
                      <a:lnTo>
                        <a:pt x="414" y="1611"/>
                      </a:lnTo>
                      <a:lnTo>
                        <a:pt x="414" y="1588"/>
                      </a:lnTo>
                      <a:lnTo>
                        <a:pt x="414" y="1571"/>
                      </a:lnTo>
                      <a:lnTo>
                        <a:pt x="414" y="1560"/>
                      </a:lnTo>
                      <a:lnTo>
                        <a:pt x="408" y="1543"/>
                      </a:lnTo>
                      <a:lnTo>
                        <a:pt x="408" y="1531"/>
                      </a:lnTo>
                      <a:lnTo>
                        <a:pt x="408" y="1526"/>
                      </a:lnTo>
                      <a:lnTo>
                        <a:pt x="408" y="1514"/>
                      </a:lnTo>
                      <a:lnTo>
                        <a:pt x="408" y="1508"/>
                      </a:lnTo>
                      <a:lnTo>
                        <a:pt x="414" y="1469"/>
                      </a:lnTo>
                      <a:lnTo>
                        <a:pt x="414" y="1423"/>
                      </a:lnTo>
                      <a:lnTo>
                        <a:pt x="420" y="1384"/>
                      </a:lnTo>
                      <a:lnTo>
                        <a:pt x="420" y="1344"/>
                      </a:lnTo>
                      <a:lnTo>
                        <a:pt x="431" y="1310"/>
                      </a:lnTo>
                      <a:lnTo>
                        <a:pt x="437" y="1276"/>
                      </a:lnTo>
                      <a:lnTo>
                        <a:pt x="442" y="1242"/>
                      </a:lnTo>
                      <a:lnTo>
                        <a:pt x="454" y="1214"/>
                      </a:lnTo>
                      <a:lnTo>
                        <a:pt x="465" y="1185"/>
                      </a:lnTo>
                      <a:lnTo>
                        <a:pt x="482" y="1157"/>
                      </a:lnTo>
                      <a:lnTo>
                        <a:pt x="499" y="1123"/>
                      </a:lnTo>
                      <a:lnTo>
                        <a:pt x="522" y="1089"/>
                      </a:lnTo>
                      <a:lnTo>
                        <a:pt x="544" y="1060"/>
                      </a:lnTo>
                      <a:lnTo>
                        <a:pt x="567" y="1021"/>
                      </a:lnTo>
                      <a:lnTo>
                        <a:pt x="596" y="987"/>
                      </a:lnTo>
                      <a:lnTo>
                        <a:pt x="630" y="953"/>
                      </a:lnTo>
                      <a:lnTo>
                        <a:pt x="658" y="919"/>
                      </a:lnTo>
                      <a:lnTo>
                        <a:pt x="686" y="885"/>
                      </a:lnTo>
                      <a:lnTo>
                        <a:pt x="709" y="856"/>
                      </a:lnTo>
                      <a:lnTo>
                        <a:pt x="732" y="834"/>
                      </a:lnTo>
                      <a:lnTo>
                        <a:pt x="749" y="811"/>
                      </a:lnTo>
                      <a:lnTo>
                        <a:pt x="766" y="788"/>
                      </a:lnTo>
                      <a:lnTo>
                        <a:pt x="777" y="777"/>
                      </a:lnTo>
                      <a:lnTo>
                        <a:pt x="783" y="760"/>
                      </a:lnTo>
                      <a:lnTo>
                        <a:pt x="794" y="743"/>
                      </a:lnTo>
                      <a:lnTo>
                        <a:pt x="800" y="726"/>
                      </a:lnTo>
                      <a:lnTo>
                        <a:pt x="806" y="703"/>
                      </a:lnTo>
                      <a:lnTo>
                        <a:pt x="811" y="686"/>
                      </a:lnTo>
                      <a:lnTo>
                        <a:pt x="817" y="664"/>
                      </a:lnTo>
                      <a:lnTo>
                        <a:pt x="823" y="646"/>
                      </a:lnTo>
                      <a:lnTo>
                        <a:pt x="823" y="624"/>
                      </a:lnTo>
                      <a:lnTo>
                        <a:pt x="823" y="601"/>
                      </a:lnTo>
                      <a:lnTo>
                        <a:pt x="823" y="573"/>
                      </a:lnTo>
                      <a:lnTo>
                        <a:pt x="817" y="544"/>
                      </a:lnTo>
                      <a:lnTo>
                        <a:pt x="811" y="516"/>
                      </a:lnTo>
                      <a:lnTo>
                        <a:pt x="806" y="493"/>
                      </a:lnTo>
                      <a:lnTo>
                        <a:pt x="794" y="465"/>
                      </a:lnTo>
                      <a:lnTo>
                        <a:pt x="783" y="442"/>
                      </a:lnTo>
                      <a:lnTo>
                        <a:pt x="771" y="420"/>
                      </a:lnTo>
                      <a:lnTo>
                        <a:pt x="754" y="397"/>
                      </a:lnTo>
                      <a:lnTo>
                        <a:pt x="737" y="380"/>
                      </a:lnTo>
                      <a:lnTo>
                        <a:pt x="715" y="363"/>
                      </a:lnTo>
                      <a:lnTo>
                        <a:pt x="698" y="346"/>
                      </a:lnTo>
                      <a:lnTo>
                        <a:pt x="675" y="335"/>
                      </a:lnTo>
                      <a:lnTo>
                        <a:pt x="647" y="323"/>
                      </a:lnTo>
                      <a:lnTo>
                        <a:pt x="624" y="318"/>
                      </a:lnTo>
                      <a:lnTo>
                        <a:pt x="596" y="318"/>
                      </a:lnTo>
                      <a:lnTo>
                        <a:pt x="567" y="312"/>
                      </a:lnTo>
                      <a:lnTo>
                        <a:pt x="539" y="318"/>
                      </a:lnTo>
                      <a:lnTo>
                        <a:pt x="510" y="318"/>
                      </a:lnTo>
                      <a:lnTo>
                        <a:pt x="488" y="329"/>
                      </a:lnTo>
                      <a:lnTo>
                        <a:pt x="465" y="335"/>
                      </a:lnTo>
                      <a:lnTo>
                        <a:pt x="437" y="346"/>
                      </a:lnTo>
                      <a:lnTo>
                        <a:pt x="420" y="363"/>
                      </a:lnTo>
                      <a:lnTo>
                        <a:pt x="397" y="380"/>
                      </a:lnTo>
                      <a:lnTo>
                        <a:pt x="374" y="403"/>
                      </a:lnTo>
                      <a:lnTo>
                        <a:pt x="357" y="425"/>
                      </a:lnTo>
                      <a:lnTo>
                        <a:pt x="340" y="454"/>
                      </a:lnTo>
                      <a:lnTo>
                        <a:pt x="329" y="482"/>
                      </a:lnTo>
                      <a:lnTo>
                        <a:pt x="312" y="516"/>
                      </a:lnTo>
                      <a:lnTo>
                        <a:pt x="300" y="550"/>
                      </a:lnTo>
                      <a:lnTo>
                        <a:pt x="289" y="590"/>
                      </a:lnTo>
                      <a:lnTo>
                        <a:pt x="278" y="629"/>
                      </a:lnTo>
                      <a:lnTo>
                        <a:pt x="272" y="675"/>
                      </a:lnTo>
                      <a:lnTo>
                        <a:pt x="136" y="652"/>
                      </a:lnTo>
                      <a:lnTo>
                        <a:pt x="0" y="629"/>
                      </a:lnTo>
                      <a:lnTo>
                        <a:pt x="0" y="595"/>
                      </a:lnTo>
                      <a:lnTo>
                        <a:pt x="5" y="561"/>
                      </a:lnTo>
                      <a:lnTo>
                        <a:pt x="5" y="533"/>
                      </a:lnTo>
                      <a:lnTo>
                        <a:pt x="11" y="505"/>
                      </a:lnTo>
                      <a:lnTo>
                        <a:pt x="17" y="471"/>
                      </a:lnTo>
                      <a:lnTo>
                        <a:pt x="28" y="442"/>
                      </a:lnTo>
                      <a:lnTo>
                        <a:pt x="34" y="414"/>
                      </a:lnTo>
                      <a:lnTo>
                        <a:pt x="45" y="386"/>
                      </a:lnTo>
                      <a:lnTo>
                        <a:pt x="56" y="357"/>
                      </a:lnTo>
                      <a:lnTo>
                        <a:pt x="68" y="335"/>
                      </a:lnTo>
                      <a:lnTo>
                        <a:pt x="79" y="306"/>
                      </a:lnTo>
                      <a:lnTo>
                        <a:pt x="96" y="284"/>
                      </a:lnTo>
                      <a:lnTo>
                        <a:pt x="108" y="255"/>
                      </a:lnTo>
                      <a:lnTo>
                        <a:pt x="125" y="233"/>
                      </a:lnTo>
                      <a:lnTo>
                        <a:pt x="142" y="210"/>
                      </a:lnTo>
                      <a:lnTo>
                        <a:pt x="159" y="187"/>
                      </a:lnTo>
                      <a:lnTo>
                        <a:pt x="181" y="164"/>
                      </a:lnTo>
                      <a:lnTo>
                        <a:pt x="198" y="142"/>
                      </a:lnTo>
                      <a:lnTo>
                        <a:pt x="221" y="125"/>
                      </a:lnTo>
                      <a:lnTo>
                        <a:pt x="244" y="102"/>
                      </a:lnTo>
                      <a:lnTo>
                        <a:pt x="261" y="91"/>
                      </a:lnTo>
                      <a:lnTo>
                        <a:pt x="283" y="74"/>
                      </a:lnTo>
                      <a:lnTo>
                        <a:pt x="312" y="62"/>
                      </a:lnTo>
                      <a:lnTo>
                        <a:pt x="335" y="45"/>
                      </a:lnTo>
                      <a:lnTo>
                        <a:pt x="357" y="40"/>
                      </a:lnTo>
                      <a:lnTo>
                        <a:pt x="386" y="28"/>
                      </a:lnTo>
                      <a:lnTo>
                        <a:pt x="408" y="23"/>
                      </a:lnTo>
                      <a:lnTo>
                        <a:pt x="437" y="11"/>
                      </a:lnTo>
                      <a:lnTo>
                        <a:pt x="465" y="11"/>
                      </a:lnTo>
                      <a:lnTo>
                        <a:pt x="493" y="6"/>
                      </a:lnTo>
                      <a:lnTo>
                        <a:pt x="522" y="6"/>
                      </a:lnTo>
                      <a:lnTo>
                        <a:pt x="556" y="0"/>
                      </a:lnTo>
                      <a:lnTo>
                        <a:pt x="584" y="6"/>
                      </a:lnTo>
                      <a:lnTo>
                        <a:pt x="618" y="6"/>
                      </a:lnTo>
                      <a:lnTo>
                        <a:pt x="647" y="11"/>
                      </a:lnTo>
                      <a:lnTo>
                        <a:pt x="675" y="11"/>
                      </a:lnTo>
                      <a:lnTo>
                        <a:pt x="703" y="23"/>
                      </a:lnTo>
                      <a:lnTo>
                        <a:pt x="732" y="28"/>
                      </a:lnTo>
                      <a:lnTo>
                        <a:pt x="760" y="40"/>
                      </a:lnTo>
                      <a:lnTo>
                        <a:pt x="783" y="45"/>
                      </a:lnTo>
                      <a:lnTo>
                        <a:pt x="811" y="62"/>
                      </a:lnTo>
                      <a:lnTo>
                        <a:pt x="834" y="74"/>
                      </a:lnTo>
                      <a:lnTo>
                        <a:pt x="857" y="91"/>
                      </a:lnTo>
                      <a:lnTo>
                        <a:pt x="879" y="108"/>
                      </a:lnTo>
                      <a:lnTo>
                        <a:pt x="902" y="125"/>
                      </a:lnTo>
                      <a:lnTo>
                        <a:pt x="925" y="142"/>
                      </a:lnTo>
                      <a:lnTo>
                        <a:pt x="942" y="164"/>
                      </a:lnTo>
                      <a:lnTo>
                        <a:pt x="964" y="187"/>
                      </a:lnTo>
                      <a:lnTo>
                        <a:pt x="981" y="210"/>
                      </a:lnTo>
                      <a:lnTo>
                        <a:pt x="998" y="233"/>
                      </a:lnTo>
                      <a:lnTo>
                        <a:pt x="1016" y="255"/>
                      </a:lnTo>
                      <a:lnTo>
                        <a:pt x="1027" y="284"/>
                      </a:lnTo>
                      <a:lnTo>
                        <a:pt x="1044" y="306"/>
                      </a:lnTo>
                      <a:lnTo>
                        <a:pt x="1055" y="335"/>
                      </a:lnTo>
                      <a:lnTo>
                        <a:pt x="1067" y="357"/>
                      </a:lnTo>
                      <a:lnTo>
                        <a:pt x="1078" y="386"/>
                      </a:lnTo>
                      <a:lnTo>
                        <a:pt x="1084" y="414"/>
                      </a:lnTo>
                      <a:lnTo>
                        <a:pt x="1095" y="442"/>
                      </a:lnTo>
                      <a:lnTo>
                        <a:pt x="1101" y="471"/>
                      </a:lnTo>
                      <a:lnTo>
                        <a:pt x="1106" y="499"/>
                      </a:lnTo>
                      <a:lnTo>
                        <a:pt x="1106" y="527"/>
                      </a:lnTo>
                      <a:lnTo>
                        <a:pt x="1112" y="556"/>
                      </a:lnTo>
                      <a:lnTo>
                        <a:pt x="1112" y="584"/>
                      </a:lnTo>
                      <a:lnTo>
                        <a:pt x="1112" y="618"/>
                      </a:lnTo>
                      <a:lnTo>
                        <a:pt x="1112" y="646"/>
                      </a:lnTo>
                      <a:lnTo>
                        <a:pt x="1112" y="681"/>
                      </a:lnTo>
                      <a:lnTo>
                        <a:pt x="1106" y="715"/>
                      </a:lnTo>
                      <a:lnTo>
                        <a:pt x="1101" y="749"/>
                      </a:lnTo>
                      <a:lnTo>
                        <a:pt x="1095" y="777"/>
                      </a:lnTo>
                      <a:lnTo>
                        <a:pt x="1084" y="811"/>
                      </a:lnTo>
                      <a:lnTo>
                        <a:pt x="1072" y="839"/>
                      </a:lnTo>
                      <a:lnTo>
                        <a:pt x="1061" y="873"/>
                      </a:lnTo>
                      <a:lnTo>
                        <a:pt x="1050" y="885"/>
                      </a:lnTo>
                      <a:lnTo>
                        <a:pt x="1044" y="902"/>
                      </a:lnTo>
                      <a:lnTo>
                        <a:pt x="1033" y="919"/>
                      </a:lnTo>
                      <a:lnTo>
                        <a:pt x="1021" y="936"/>
                      </a:lnTo>
                      <a:lnTo>
                        <a:pt x="1010" y="958"/>
                      </a:lnTo>
                      <a:lnTo>
                        <a:pt x="998" y="975"/>
                      </a:lnTo>
                      <a:lnTo>
                        <a:pt x="987" y="992"/>
                      </a:lnTo>
                      <a:lnTo>
                        <a:pt x="970" y="1015"/>
                      </a:lnTo>
                      <a:lnTo>
                        <a:pt x="953" y="1038"/>
                      </a:lnTo>
                      <a:lnTo>
                        <a:pt x="942" y="1055"/>
                      </a:lnTo>
                      <a:lnTo>
                        <a:pt x="925" y="1077"/>
                      </a:lnTo>
                      <a:lnTo>
                        <a:pt x="902" y="1100"/>
                      </a:lnTo>
                      <a:lnTo>
                        <a:pt x="862" y="1151"/>
                      </a:lnTo>
                      <a:lnTo>
                        <a:pt x="823" y="1202"/>
                      </a:lnTo>
                      <a:lnTo>
                        <a:pt x="800" y="1225"/>
                      </a:lnTo>
                      <a:lnTo>
                        <a:pt x="777" y="1253"/>
                      </a:lnTo>
                      <a:lnTo>
                        <a:pt x="760" y="1276"/>
                      </a:lnTo>
                      <a:lnTo>
                        <a:pt x="743" y="1299"/>
                      </a:lnTo>
                      <a:lnTo>
                        <a:pt x="732" y="1321"/>
                      </a:lnTo>
                      <a:lnTo>
                        <a:pt x="720" y="1338"/>
                      </a:lnTo>
                      <a:lnTo>
                        <a:pt x="709" y="1355"/>
                      </a:lnTo>
                      <a:lnTo>
                        <a:pt x="703" y="1372"/>
                      </a:lnTo>
                      <a:lnTo>
                        <a:pt x="698" y="1395"/>
                      </a:lnTo>
                      <a:lnTo>
                        <a:pt x="692" y="1412"/>
                      </a:lnTo>
                      <a:lnTo>
                        <a:pt x="692" y="1440"/>
                      </a:lnTo>
                      <a:lnTo>
                        <a:pt x="686" y="1469"/>
                      </a:lnTo>
                      <a:lnTo>
                        <a:pt x="686" y="1497"/>
                      </a:lnTo>
                      <a:lnTo>
                        <a:pt x="681" y="1531"/>
                      </a:lnTo>
                      <a:lnTo>
                        <a:pt x="681" y="1571"/>
                      </a:lnTo>
                      <a:lnTo>
                        <a:pt x="681" y="1611"/>
                      </a:lnTo>
                    </a:path>
                  </a:pathLst>
                </a:custGeom>
                <a:solidFill>
                  <a:srgbClr val="DDDDDD"/>
                </a:solidFill>
                <a:ln w="9525">
                  <a:solidFill>
                    <a:srgbClr val="C0C0C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5090" name="Line 311"/>
                <p:cNvSpPr>
                  <a:spLocks noChangeShapeType="1"/>
                </p:cNvSpPr>
                <p:nvPr>
                  <p:custDataLst>
                    <p:tags r:id="rId120"/>
                  </p:custDataLst>
                </p:nvPr>
              </p:nvSpPr>
              <p:spPr bwMode="gray">
                <a:xfrm flipV="1">
                  <a:off x="746" y="1153"/>
                  <a:ext cx="42" cy="172"/>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91" name="Line 312"/>
                <p:cNvSpPr>
                  <a:spLocks noChangeShapeType="1"/>
                </p:cNvSpPr>
                <p:nvPr>
                  <p:custDataLst>
                    <p:tags r:id="rId121"/>
                  </p:custDataLst>
                </p:nvPr>
              </p:nvSpPr>
              <p:spPr bwMode="gray">
                <a:xfrm flipH="1" flipV="1">
                  <a:off x="788" y="1161"/>
                  <a:ext cx="18" cy="86"/>
                </a:xfrm>
                <a:prstGeom prst="line">
                  <a:avLst/>
                </a:prstGeom>
                <a:no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grpSp>
          <p:grpSp>
            <p:nvGrpSpPr>
              <p:cNvPr id="14" name="Group 313"/>
              <p:cNvGrpSpPr>
                <a:grpSpLocks/>
              </p:cNvGrpSpPr>
              <p:nvPr>
                <p:custDataLst>
                  <p:tags r:id="rId76"/>
                </p:custDataLst>
              </p:nvPr>
            </p:nvGrpSpPr>
            <p:grpSpPr bwMode="auto">
              <a:xfrm>
                <a:off x="386" y="886"/>
                <a:ext cx="1372" cy="552"/>
                <a:chOff x="525" y="418"/>
                <a:chExt cx="1832" cy="737"/>
              </a:xfrm>
            </p:grpSpPr>
            <p:sp>
              <p:nvSpPr>
                <p:cNvPr id="25047" name="Freeform 314"/>
                <p:cNvSpPr>
                  <a:spLocks/>
                </p:cNvSpPr>
                <p:nvPr>
                  <p:custDataLst>
                    <p:tags r:id="rId77"/>
                  </p:custDataLst>
                </p:nvPr>
              </p:nvSpPr>
              <p:spPr bwMode="gray">
                <a:xfrm rot="-518345">
                  <a:off x="769" y="650"/>
                  <a:ext cx="567" cy="211"/>
                </a:xfrm>
                <a:custGeom>
                  <a:avLst/>
                  <a:gdLst>
                    <a:gd name="T0" fmla="*/ 0 w 690"/>
                    <a:gd name="T1" fmla="*/ 67 h 257"/>
                    <a:gd name="T2" fmla="*/ 223 w 690"/>
                    <a:gd name="T3" fmla="*/ 0 h 257"/>
                    <a:gd name="T4" fmla="*/ 383 w 690"/>
                    <a:gd name="T5" fmla="*/ 142 h 257"/>
                    <a:gd name="T6" fmla="*/ 0 60000 65536"/>
                    <a:gd name="T7" fmla="*/ 0 60000 65536"/>
                    <a:gd name="T8" fmla="*/ 0 60000 65536"/>
                    <a:gd name="T9" fmla="*/ 0 w 690"/>
                    <a:gd name="T10" fmla="*/ 0 h 257"/>
                    <a:gd name="T11" fmla="*/ 690 w 690"/>
                    <a:gd name="T12" fmla="*/ 257 h 257"/>
                  </a:gdLst>
                  <a:ahLst/>
                  <a:cxnLst>
                    <a:cxn ang="T6">
                      <a:pos x="T0" y="T1"/>
                    </a:cxn>
                    <a:cxn ang="T7">
                      <a:pos x="T2" y="T3"/>
                    </a:cxn>
                    <a:cxn ang="T8">
                      <a:pos x="T4" y="T5"/>
                    </a:cxn>
                  </a:cxnLst>
                  <a:rect l="T9" t="T10" r="T11" b="T12"/>
                  <a:pathLst>
                    <a:path w="690" h="257">
                      <a:moveTo>
                        <a:pt x="0" y="122"/>
                      </a:moveTo>
                      <a:lnTo>
                        <a:pt x="401" y="0"/>
                      </a:lnTo>
                      <a:lnTo>
                        <a:pt x="690" y="257"/>
                      </a:lnTo>
                    </a:path>
                  </a:pathLst>
                </a:custGeom>
                <a:noFill/>
                <a:ln w="2857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48" name="Freeform 315"/>
                <p:cNvSpPr>
                  <a:spLocks/>
                </p:cNvSpPr>
                <p:nvPr>
                  <p:custDataLst>
                    <p:tags r:id="rId78"/>
                  </p:custDataLst>
                </p:nvPr>
              </p:nvSpPr>
              <p:spPr bwMode="gray">
                <a:xfrm rot="118835">
                  <a:off x="619" y="811"/>
                  <a:ext cx="1738" cy="22"/>
                </a:xfrm>
                <a:custGeom>
                  <a:avLst/>
                  <a:gdLst>
                    <a:gd name="T0" fmla="*/ 0 w 4104"/>
                    <a:gd name="T1" fmla="*/ 0 h 246"/>
                    <a:gd name="T2" fmla="*/ 0 w 4104"/>
                    <a:gd name="T3" fmla="*/ 0 h 246"/>
                    <a:gd name="T4" fmla="*/ 312 w 4104"/>
                    <a:gd name="T5" fmla="*/ 0 h 246"/>
                    <a:gd name="T6" fmla="*/ 312 w 4104"/>
                    <a:gd name="T7" fmla="*/ 0 h 246"/>
                    <a:gd name="T8" fmla="*/ 0 w 4104"/>
                    <a:gd name="T9" fmla="*/ 0 h 246"/>
                    <a:gd name="T10" fmla="*/ 0 60000 65536"/>
                    <a:gd name="T11" fmla="*/ 0 60000 65536"/>
                    <a:gd name="T12" fmla="*/ 0 60000 65536"/>
                    <a:gd name="T13" fmla="*/ 0 60000 65536"/>
                    <a:gd name="T14" fmla="*/ 0 60000 65536"/>
                    <a:gd name="T15" fmla="*/ 0 w 4104"/>
                    <a:gd name="T16" fmla="*/ 0 h 246"/>
                    <a:gd name="T17" fmla="*/ 4104 w 4104"/>
                    <a:gd name="T18" fmla="*/ 246 h 246"/>
                  </a:gdLst>
                  <a:ahLst/>
                  <a:cxnLst>
                    <a:cxn ang="T10">
                      <a:pos x="T0" y="T1"/>
                    </a:cxn>
                    <a:cxn ang="T11">
                      <a:pos x="T2" y="T3"/>
                    </a:cxn>
                    <a:cxn ang="T12">
                      <a:pos x="T4" y="T5"/>
                    </a:cxn>
                    <a:cxn ang="T13">
                      <a:pos x="T6" y="T7"/>
                    </a:cxn>
                    <a:cxn ang="T14">
                      <a:pos x="T8" y="T9"/>
                    </a:cxn>
                  </a:cxnLst>
                  <a:rect l="T15" t="T16" r="T17" b="T18"/>
                  <a:pathLst>
                    <a:path w="4104" h="246">
                      <a:moveTo>
                        <a:pt x="0" y="20"/>
                      </a:moveTo>
                      <a:lnTo>
                        <a:pt x="2" y="242"/>
                      </a:lnTo>
                      <a:lnTo>
                        <a:pt x="4104" y="246"/>
                      </a:lnTo>
                      <a:lnTo>
                        <a:pt x="4104" y="0"/>
                      </a:lnTo>
                      <a:lnTo>
                        <a:pt x="0" y="20"/>
                      </a:lnTo>
                      <a:close/>
                    </a:path>
                  </a:pathLst>
                </a:custGeom>
                <a:solidFill>
                  <a:srgbClr val="DDDDDD"/>
                </a:solid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49" name="Freeform 316"/>
                <p:cNvSpPr>
                  <a:spLocks/>
                </p:cNvSpPr>
                <p:nvPr>
                  <p:custDataLst>
                    <p:tags r:id="rId79"/>
                  </p:custDataLst>
                </p:nvPr>
              </p:nvSpPr>
              <p:spPr bwMode="gray">
                <a:xfrm rot="-518345">
                  <a:off x="2161" y="837"/>
                  <a:ext cx="77" cy="178"/>
                </a:xfrm>
                <a:custGeom>
                  <a:avLst/>
                  <a:gdLst>
                    <a:gd name="T0" fmla="*/ 0 w 94"/>
                    <a:gd name="T1" fmla="*/ 119 h 216"/>
                    <a:gd name="T2" fmla="*/ 38 w 94"/>
                    <a:gd name="T3" fmla="*/ 0 h 216"/>
                    <a:gd name="T4" fmla="*/ 52 w 94"/>
                    <a:gd name="T5" fmla="*/ 2 h 216"/>
                    <a:gd name="T6" fmla="*/ 15 w 94"/>
                    <a:gd name="T7" fmla="*/ 121 h 216"/>
                    <a:gd name="T8" fmla="*/ 0 w 94"/>
                    <a:gd name="T9" fmla="*/ 119 h 216"/>
                    <a:gd name="T10" fmla="*/ 0 60000 65536"/>
                    <a:gd name="T11" fmla="*/ 0 60000 65536"/>
                    <a:gd name="T12" fmla="*/ 0 60000 65536"/>
                    <a:gd name="T13" fmla="*/ 0 60000 65536"/>
                    <a:gd name="T14" fmla="*/ 0 60000 65536"/>
                    <a:gd name="T15" fmla="*/ 0 w 94"/>
                    <a:gd name="T16" fmla="*/ 0 h 216"/>
                    <a:gd name="T17" fmla="*/ 94 w 94"/>
                    <a:gd name="T18" fmla="*/ 216 h 216"/>
                  </a:gdLst>
                  <a:ahLst/>
                  <a:cxnLst>
                    <a:cxn ang="T10">
                      <a:pos x="T0" y="T1"/>
                    </a:cxn>
                    <a:cxn ang="T11">
                      <a:pos x="T2" y="T3"/>
                    </a:cxn>
                    <a:cxn ang="T12">
                      <a:pos x="T4" y="T5"/>
                    </a:cxn>
                    <a:cxn ang="T13">
                      <a:pos x="T6" y="T7"/>
                    </a:cxn>
                    <a:cxn ang="T14">
                      <a:pos x="T8" y="T9"/>
                    </a:cxn>
                  </a:cxnLst>
                  <a:rect l="T15" t="T16" r="T17" b="T18"/>
                  <a:pathLst>
                    <a:path w="94" h="216">
                      <a:moveTo>
                        <a:pt x="0" y="212"/>
                      </a:moveTo>
                      <a:lnTo>
                        <a:pt x="68" y="0"/>
                      </a:lnTo>
                      <a:lnTo>
                        <a:pt x="94" y="5"/>
                      </a:lnTo>
                      <a:lnTo>
                        <a:pt x="27" y="216"/>
                      </a:lnTo>
                      <a:lnTo>
                        <a:pt x="0" y="212"/>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50" name="Freeform 317"/>
                <p:cNvSpPr>
                  <a:spLocks/>
                </p:cNvSpPr>
                <p:nvPr>
                  <p:custDataLst>
                    <p:tags r:id="rId80"/>
                  </p:custDataLst>
                </p:nvPr>
              </p:nvSpPr>
              <p:spPr bwMode="gray">
                <a:xfrm rot="-518345">
                  <a:off x="553" y="801"/>
                  <a:ext cx="1757" cy="354"/>
                </a:xfrm>
                <a:custGeom>
                  <a:avLst/>
                  <a:gdLst>
                    <a:gd name="T0" fmla="*/ 13 w 2140"/>
                    <a:gd name="T1" fmla="*/ 0 h 432"/>
                    <a:gd name="T2" fmla="*/ 0 w 2140"/>
                    <a:gd name="T3" fmla="*/ 16 h 432"/>
                    <a:gd name="T4" fmla="*/ 1181 w 2140"/>
                    <a:gd name="T5" fmla="*/ 238 h 432"/>
                    <a:gd name="T6" fmla="*/ 1185 w 2140"/>
                    <a:gd name="T7" fmla="*/ 218 h 432"/>
                    <a:gd name="T8" fmla="*/ 13 w 2140"/>
                    <a:gd name="T9" fmla="*/ 0 h 432"/>
                    <a:gd name="T10" fmla="*/ 0 60000 65536"/>
                    <a:gd name="T11" fmla="*/ 0 60000 65536"/>
                    <a:gd name="T12" fmla="*/ 0 60000 65536"/>
                    <a:gd name="T13" fmla="*/ 0 60000 65536"/>
                    <a:gd name="T14" fmla="*/ 0 60000 65536"/>
                    <a:gd name="T15" fmla="*/ 0 w 2140"/>
                    <a:gd name="T16" fmla="*/ 0 h 432"/>
                    <a:gd name="T17" fmla="*/ 2140 w 2140"/>
                    <a:gd name="T18" fmla="*/ 432 h 432"/>
                  </a:gdLst>
                  <a:ahLst/>
                  <a:cxnLst>
                    <a:cxn ang="T10">
                      <a:pos x="T0" y="T1"/>
                    </a:cxn>
                    <a:cxn ang="T11">
                      <a:pos x="T2" y="T3"/>
                    </a:cxn>
                    <a:cxn ang="T12">
                      <a:pos x="T4" y="T5"/>
                    </a:cxn>
                    <a:cxn ang="T13">
                      <a:pos x="T6" y="T7"/>
                    </a:cxn>
                    <a:cxn ang="T14">
                      <a:pos x="T8" y="T9"/>
                    </a:cxn>
                  </a:cxnLst>
                  <a:rect l="T15" t="T16" r="T17" b="T18"/>
                  <a:pathLst>
                    <a:path w="2140" h="432">
                      <a:moveTo>
                        <a:pt x="24" y="0"/>
                      </a:moveTo>
                      <a:lnTo>
                        <a:pt x="0" y="31"/>
                      </a:lnTo>
                      <a:lnTo>
                        <a:pt x="2134" y="432"/>
                      </a:lnTo>
                      <a:lnTo>
                        <a:pt x="2140" y="397"/>
                      </a:lnTo>
                      <a:lnTo>
                        <a:pt x="24" y="0"/>
                      </a:lnTo>
                      <a:close/>
                    </a:path>
                  </a:pathLst>
                </a:custGeom>
                <a:solidFill>
                  <a:srgbClr val="DDDDDD"/>
                </a:solidFill>
                <a:ln w="952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51" name="AutoShape 318"/>
                <p:cNvSpPr>
                  <a:spLocks noChangeArrowheads="1"/>
                </p:cNvSpPr>
                <p:nvPr>
                  <p:custDataLst>
                    <p:tags r:id="rId81"/>
                  </p:custDataLst>
                </p:nvPr>
              </p:nvSpPr>
              <p:spPr bwMode="gray">
                <a:xfrm rot="167993">
                  <a:off x="1326" y="809"/>
                  <a:ext cx="193" cy="181"/>
                </a:xfrm>
                <a:prstGeom prst="cube">
                  <a:avLst>
                    <a:gd name="adj" fmla="val 89542"/>
                  </a:avLst>
                </a:prstGeom>
                <a:solidFill>
                  <a:srgbClr val="DDDDDD"/>
                </a:solidFill>
                <a:ln w="9525">
                  <a:solidFill>
                    <a:srgbClr val="C0C0C0"/>
                  </a:solidFill>
                  <a:miter lim="800000"/>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52" name="Freeform 319"/>
                <p:cNvSpPr>
                  <a:spLocks/>
                </p:cNvSpPr>
                <p:nvPr>
                  <p:custDataLst>
                    <p:tags r:id="rId82"/>
                  </p:custDataLst>
                </p:nvPr>
              </p:nvSpPr>
              <p:spPr bwMode="gray">
                <a:xfrm rot="-518345">
                  <a:off x="931" y="797"/>
                  <a:ext cx="138" cy="167"/>
                </a:xfrm>
                <a:custGeom>
                  <a:avLst/>
                  <a:gdLst>
                    <a:gd name="T0" fmla="*/ 0 w 168"/>
                    <a:gd name="T1" fmla="*/ 106 h 204"/>
                    <a:gd name="T2" fmla="*/ 72 w 168"/>
                    <a:gd name="T3" fmla="*/ 0 h 204"/>
                    <a:gd name="T4" fmla="*/ 93 w 168"/>
                    <a:gd name="T5" fmla="*/ 3 h 204"/>
                    <a:gd name="T6" fmla="*/ 25 w 168"/>
                    <a:gd name="T7" fmla="*/ 112 h 204"/>
                    <a:gd name="T8" fmla="*/ 0 w 168"/>
                    <a:gd name="T9" fmla="*/ 106 h 204"/>
                    <a:gd name="T10" fmla="*/ 0 60000 65536"/>
                    <a:gd name="T11" fmla="*/ 0 60000 65536"/>
                    <a:gd name="T12" fmla="*/ 0 60000 65536"/>
                    <a:gd name="T13" fmla="*/ 0 60000 65536"/>
                    <a:gd name="T14" fmla="*/ 0 60000 65536"/>
                    <a:gd name="T15" fmla="*/ 0 w 168"/>
                    <a:gd name="T16" fmla="*/ 0 h 204"/>
                    <a:gd name="T17" fmla="*/ 168 w 168"/>
                    <a:gd name="T18" fmla="*/ 204 h 204"/>
                  </a:gdLst>
                  <a:ahLst/>
                  <a:cxnLst>
                    <a:cxn ang="T10">
                      <a:pos x="T0" y="T1"/>
                    </a:cxn>
                    <a:cxn ang="T11">
                      <a:pos x="T2" y="T3"/>
                    </a:cxn>
                    <a:cxn ang="T12">
                      <a:pos x="T4" y="T5"/>
                    </a:cxn>
                    <a:cxn ang="T13">
                      <a:pos x="T6" y="T7"/>
                    </a:cxn>
                    <a:cxn ang="T14">
                      <a:pos x="T8" y="T9"/>
                    </a:cxn>
                  </a:cxnLst>
                  <a:rect l="T15" t="T16" r="T17" b="T18"/>
                  <a:pathLst>
                    <a:path w="168" h="204">
                      <a:moveTo>
                        <a:pt x="0" y="194"/>
                      </a:moveTo>
                      <a:lnTo>
                        <a:pt x="130" y="0"/>
                      </a:lnTo>
                      <a:lnTo>
                        <a:pt x="168" y="6"/>
                      </a:lnTo>
                      <a:lnTo>
                        <a:pt x="44" y="204"/>
                      </a:lnTo>
                      <a:lnTo>
                        <a:pt x="0" y="194"/>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53" name="Freeform 320"/>
                <p:cNvSpPr>
                  <a:spLocks/>
                </p:cNvSpPr>
                <p:nvPr>
                  <p:custDataLst>
                    <p:tags r:id="rId83"/>
                  </p:custDataLst>
                </p:nvPr>
              </p:nvSpPr>
              <p:spPr bwMode="gray">
                <a:xfrm rot="-518345">
                  <a:off x="1132" y="804"/>
                  <a:ext cx="138" cy="167"/>
                </a:xfrm>
                <a:custGeom>
                  <a:avLst/>
                  <a:gdLst>
                    <a:gd name="T0" fmla="*/ 0 w 168"/>
                    <a:gd name="T1" fmla="*/ 106 h 204"/>
                    <a:gd name="T2" fmla="*/ 72 w 168"/>
                    <a:gd name="T3" fmla="*/ 0 h 204"/>
                    <a:gd name="T4" fmla="*/ 93 w 168"/>
                    <a:gd name="T5" fmla="*/ 3 h 204"/>
                    <a:gd name="T6" fmla="*/ 25 w 168"/>
                    <a:gd name="T7" fmla="*/ 112 h 204"/>
                    <a:gd name="T8" fmla="*/ 0 w 168"/>
                    <a:gd name="T9" fmla="*/ 106 h 204"/>
                    <a:gd name="T10" fmla="*/ 0 60000 65536"/>
                    <a:gd name="T11" fmla="*/ 0 60000 65536"/>
                    <a:gd name="T12" fmla="*/ 0 60000 65536"/>
                    <a:gd name="T13" fmla="*/ 0 60000 65536"/>
                    <a:gd name="T14" fmla="*/ 0 60000 65536"/>
                    <a:gd name="T15" fmla="*/ 0 w 168"/>
                    <a:gd name="T16" fmla="*/ 0 h 204"/>
                    <a:gd name="T17" fmla="*/ 168 w 168"/>
                    <a:gd name="T18" fmla="*/ 204 h 204"/>
                  </a:gdLst>
                  <a:ahLst/>
                  <a:cxnLst>
                    <a:cxn ang="T10">
                      <a:pos x="T0" y="T1"/>
                    </a:cxn>
                    <a:cxn ang="T11">
                      <a:pos x="T2" y="T3"/>
                    </a:cxn>
                    <a:cxn ang="T12">
                      <a:pos x="T4" y="T5"/>
                    </a:cxn>
                    <a:cxn ang="T13">
                      <a:pos x="T6" y="T7"/>
                    </a:cxn>
                    <a:cxn ang="T14">
                      <a:pos x="T8" y="T9"/>
                    </a:cxn>
                  </a:cxnLst>
                  <a:rect l="T15" t="T16" r="T17" b="T18"/>
                  <a:pathLst>
                    <a:path w="168" h="204">
                      <a:moveTo>
                        <a:pt x="0" y="194"/>
                      </a:moveTo>
                      <a:lnTo>
                        <a:pt x="130" y="0"/>
                      </a:lnTo>
                      <a:lnTo>
                        <a:pt x="168" y="6"/>
                      </a:lnTo>
                      <a:lnTo>
                        <a:pt x="44" y="204"/>
                      </a:lnTo>
                      <a:lnTo>
                        <a:pt x="0" y="194"/>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54" name="Line 321"/>
                <p:cNvSpPr>
                  <a:spLocks noChangeShapeType="1"/>
                </p:cNvSpPr>
                <p:nvPr>
                  <p:custDataLst>
                    <p:tags r:id="rId84"/>
                  </p:custDataLst>
                </p:nvPr>
              </p:nvSpPr>
              <p:spPr bwMode="gray">
                <a:xfrm rot="21081655" flipV="1">
                  <a:off x="1020" y="649"/>
                  <a:ext cx="73" cy="105"/>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55" name="Freeform 322"/>
                <p:cNvSpPr>
                  <a:spLocks/>
                </p:cNvSpPr>
                <p:nvPr>
                  <p:custDataLst>
                    <p:tags r:id="rId85"/>
                  </p:custDataLst>
                </p:nvPr>
              </p:nvSpPr>
              <p:spPr bwMode="gray">
                <a:xfrm rot="-518345">
                  <a:off x="755" y="778"/>
                  <a:ext cx="69" cy="132"/>
                </a:xfrm>
                <a:custGeom>
                  <a:avLst/>
                  <a:gdLst>
                    <a:gd name="T0" fmla="*/ 0 w 83"/>
                    <a:gd name="T1" fmla="*/ 90 h 160"/>
                    <a:gd name="T2" fmla="*/ 47 w 83"/>
                    <a:gd name="T3" fmla="*/ 0 h 160"/>
                    <a:gd name="T4" fmla="*/ 0 60000 65536"/>
                    <a:gd name="T5" fmla="*/ 0 60000 65536"/>
                    <a:gd name="T6" fmla="*/ 0 w 83"/>
                    <a:gd name="T7" fmla="*/ 0 h 160"/>
                    <a:gd name="T8" fmla="*/ 83 w 83"/>
                    <a:gd name="T9" fmla="*/ 160 h 160"/>
                  </a:gdLst>
                  <a:ahLst/>
                  <a:cxnLst>
                    <a:cxn ang="T4">
                      <a:pos x="T0" y="T1"/>
                    </a:cxn>
                    <a:cxn ang="T5">
                      <a:pos x="T2" y="T3"/>
                    </a:cxn>
                  </a:cxnLst>
                  <a:rect l="T6" t="T7" r="T8" b="T9"/>
                  <a:pathLst>
                    <a:path w="83" h="160">
                      <a:moveTo>
                        <a:pt x="0" y="160"/>
                      </a:moveTo>
                      <a:lnTo>
                        <a:pt x="83" y="0"/>
                      </a:lnTo>
                    </a:path>
                  </a:pathLst>
                </a:custGeom>
                <a:noFill/>
                <a:ln w="2857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56" name="Line 323"/>
                <p:cNvSpPr>
                  <a:spLocks noChangeShapeType="1"/>
                </p:cNvSpPr>
                <p:nvPr>
                  <p:custDataLst>
                    <p:tags r:id="rId86"/>
                  </p:custDataLst>
                </p:nvPr>
              </p:nvSpPr>
              <p:spPr bwMode="gray">
                <a:xfrm rot="21081655" flipV="1">
                  <a:off x="1244" y="791"/>
                  <a:ext cx="76" cy="126"/>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57" name="Freeform 324"/>
                <p:cNvSpPr>
                  <a:spLocks/>
                </p:cNvSpPr>
                <p:nvPr>
                  <p:custDataLst>
                    <p:tags r:id="rId87"/>
                  </p:custDataLst>
                </p:nvPr>
              </p:nvSpPr>
              <p:spPr bwMode="gray">
                <a:xfrm rot="-518345">
                  <a:off x="1292" y="452"/>
                  <a:ext cx="247" cy="502"/>
                </a:xfrm>
                <a:custGeom>
                  <a:avLst/>
                  <a:gdLst>
                    <a:gd name="T0" fmla="*/ 0 w 300"/>
                    <a:gd name="T1" fmla="*/ 338 h 612"/>
                    <a:gd name="T2" fmla="*/ 68 w 300"/>
                    <a:gd name="T3" fmla="*/ 71 h 612"/>
                    <a:gd name="T4" fmla="*/ 167 w 300"/>
                    <a:gd name="T5" fmla="*/ 0 h 612"/>
                    <a:gd name="T6" fmla="*/ 125 w 300"/>
                    <a:gd name="T7" fmla="*/ 258 h 612"/>
                    <a:gd name="T8" fmla="*/ 0 60000 65536"/>
                    <a:gd name="T9" fmla="*/ 0 60000 65536"/>
                    <a:gd name="T10" fmla="*/ 0 60000 65536"/>
                    <a:gd name="T11" fmla="*/ 0 60000 65536"/>
                    <a:gd name="T12" fmla="*/ 0 w 300"/>
                    <a:gd name="T13" fmla="*/ 0 h 612"/>
                    <a:gd name="T14" fmla="*/ 300 w 300"/>
                    <a:gd name="T15" fmla="*/ 612 h 612"/>
                  </a:gdLst>
                  <a:ahLst/>
                  <a:cxnLst>
                    <a:cxn ang="T8">
                      <a:pos x="T0" y="T1"/>
                    </a:cxn>
                    <a:cxn ang="T9">
                      <a:pos x="T2" y="T3"/>
                    </a:cxn>
                    <a:cxn ang="T10">
                      <a:pos x="T4" y="T5"/>
                    </a:cxn>
                    <a:cxn ang="T11">
                      <a:pos x="T6" y="T7"/>
                    </a:cxn>
                  </a:cxnLst>
                  <a:rect l="T12" t="T13" r="T14" b="T15"/>
                  <a:pathLst>
                    <a:path w="300" h="612">
                      <a:moveTo>
                        <a:pt x="0" y="612"/>
                      </a:moveTo>
                      <a:lnTo>
                        <a:pt x="123" y="129"/>
                      </a:lnTo>
                      <a:lnTo>
                        <a:pt x="300" y="0"/>
                      </a:lnTo>
                      <a:lnTo>
                        <a:pt x="225" y="467"/>
                      </a:lnTo>
                    </a:path>
                  </a:pathLst>
                </a:custGeom>
                <a:noFill/>
                <a:ln w="2857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58" name="Line 325"/>
                <p:cNvSpPr>
                  <a:spLocks noChangeShapeType="1"/>
                </p:cNvSpPr>
                <p:nvPr>
                  <p:custDataLst>
                    <p:tags r:id="rId88"/>
                  </p:custDataLst>
                </p:nvPr>
              </p:nvSpPr>
              <p:spPr bwMode="gray">
                <a:xfrm rot="21081655" flipV="1">
                  <a:off x="1018" y="589"/>
                  <a:ext cx="365" cy="143"/>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59" name="Line 326"/>
                <p:cNvSpPr>
                  <a:spLocks noChangeShapeType="1"/>
                </p:cNvSpPr>
                <p:nvPr>
                  <p:custDataLst>
                    <p:tags r:id="rId89"/>
                  </p:custDataLst>
                </p:nvPr>
              </p:nvSpPr>
              <p:spPr bwMode="gray">
                <a:xfrm rot="21081655" flipV="1">
                  <a:off x="1064" y="459"/>
                  <a:ext cx="451" cy="160"/>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60" name="Freeform 327"/>
                <p:cNvSpPr>
                  <a:spLocks/>
                </p:cNvSpPr>
                <p:nvPr>
                  <p:custDataLst>
                    <p:tags r:id="rId90"/>
                  </p:custDataLst>
                </p:nvPr>
              </p:nvSpPr>
              <p:spPr bwMode="gray">
                <a:xfrm rot="-518345">
                  <a:off x="684" y="762"/>
                  <a:ext cx="627" cy="263"/>
                </a:xfrm>
                <a:custGeom>
                  <a:avLst/>
                  <a:gdLst>
                    <a:gd name="T0" fmla="*/ 0 w 749"/>
                    <a:gd name="T1" fmla="*/ 98 h 320"/>
                    <a:gd name="T2" fmla="*/ 254 w 749"/>
                    <a:gd name="T3" fmla="*/ 0 h 320"/>
                    <a:gd name="T4" fmla="*/ 439 w 749"/>
                    <a:gd name="T5" fmla="*/ 178 h 320"/>
                    <a:gd name="T6" fmla="*/ 0 60000 65536"/>
                    <a:gd name="T7" fmla="*/ 0 60000 65536"/>
                    <a:gd name="T8" fmla="*/ 0 60000 65536"/>
                    <a:gd name="T9" fmla="*/ 0 w 749"/>
                    <a:gd name="T10" fmla="*/ 0 h 320"/>
                    <a:gd name="T11" fmla="*/ 749 w 749"/>
                    <a:gd name="T12" fmla="*/ 320 h 320"/>
                  </a:gdLst>
                  <a:ahLst/>
                  <a:cxnLst>
                    <a:cxn ang="T6">
                      <a:pos x="T0" y="T1"/>
                    </a:cxn>
                    <a:cxn ang="T7">
                      <a:pos x="T2" y="T3"/>
                    </a:cxn>
                    <a:cxn ang="T8">
                      <a:pos x="T4" y="T5"/>
                    </a:cxn>
                  </a:cxnLst>
                  <a:rect l="T9" t="T10" r="T11" b="T12"/>
                  <a:pathLst>
                    <a:path w="749" h="320">
                      <a:moveTo>
                        <a:pt x="0" y="177"/>
                      </a:moveTo>
                      <a:lnTo>
                        <a:pt x="432" y="0"/>
                      </a:lnTo>
                      <a:lnTo>
                        <a:pt x="749" y="320"/>
                      </a:lnTo>
                    </a:path>
                  </a:pathLst>
                </a:custGeom>
                <a:noFill/>
                <a:ln w="2857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61" name="Freeform 328"/>
                <p:cNvSpPr>
                  <a:spLocks/>
                </p:cNvSpPr>
                <p:nvPr>
                  <p:custDataLst>
                    <p:tags r:id="rId91"/>
                  </p:custDataLst>
                </p:nvPr>
              </p:nvSpPr>
              <p:spPr bwMode="gray">
                <a:xfrm rot="-518345">
                  <a:off x="525" y="789"/>
                  <a:ext cx="138" cy="168"/>
                </a:xfrm>
                <a:custGeom>
                  <a:avLst/>
                  <a:gdLst>
                    <a:gd name="T0" fmla="*/ 0 w 168"/>
                    <a:gd name="T1" fmla="*/ 109 h 204"/>
                    <a:gd name="T2" fmla="*/ 72 w 168"/>
                    <a:gd name="T3" fmla="*/ 0 h 204"/>
                    <a:gd name="T4" fmla="*/ 93 w 168"/>
                    <a:gd name="T5" fmla="*/ 3 h 204"/>
                    <a:gd name="T6" fmla="*/ 25 w 168"/>
                    <a:gd name="T7" fmla="*/ 114 h 204"/>
                    <a:gd name="T8" fmla="*/ 0 w 168"/>
                    <a:gd name="T9" fmla="*/ 109 h 204"/>
                    <a:gd name="T10" fmla="*/ 0 60000 65536"/>
                    <a:gd name="T11" fmla="*/ 0 60000 65536"/>
                    <a:gd name="T12" fmla="*/ 0 60000 65536"/>
                    <a:gd name="T13" fmla="*/ 0 60000 65536"/>
                    <a:gd name="T14" fmla="*/ 0 60000 65536"/>
                    <a:gd name="T15" fmla="*/ 0 w 168"/>
                    <a:gd name="T16" fmla="*/ 0 h 204"/>
                    <a:gd name="T17" fmla="*/ 168 w 168"/>
                    <a:gd name="T18" fmla="*/ 204 h 204"/>
                  </a:gdLst>
                  <a:ahLst/>
                  <a:cxnLst>
                    <a:cxn ang="T10">
                      <a:pos x="T0" y="T1"/>
                    </a:cxn>
                    <a:cxn ang="T11">
                      <a:pos x="T2" y="T3"/>
                    </a:cxn>
                    <a:cxn ang="T12">
                      <a:pos x="T4" y="T5"/>
                    </a:cxn>
                    <a:cxn ang="T13">
                      <a:pos x="T6" y="T7"/>
                    </a:cxn>
                    <a:cxn ang="T14">
                      <a:pos x="T8" y="T9"/>
                    </a:cxn>
                  </a:cxnLst>
                  <a:rect l="T15" t="T16" r="T17" b="T18"/>
                  <a:pathLst>
                    <a:path w="168" h="204">
                      <a:moveTo>
                        <a:pt x="0" y="194"/>
                      </a:moveTo>
                      <a:lnTo>
                        <a:pt x="130" y="0"/>
                      </a:lnTo>
                      <a:lnTo>
                        <a:pt x="168" y="6"/>
                      </a:lnTo>
                      <a:lnTo>
                        <a:pt x="44" y="204"/>
                      </a:lnTo>
                      <a:lnTo>
                        <a:pt x="0" y="194"/>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62" name="Line 329"/>
                <p:cNvSpPr>
                  <a:spLocks noChangeShapeType="1"/>
                </p:cNvSpPr>
                <p:nvPr>
                  <p:custDataLst>
                    <p:tags r:id="rId92"/>
                  </p:custDataLst>
                </p:nvPr>
              </p:nvSpPr>
              <p:spPr bwMode="gray">
                <a:xfrm rot="21081655" flipH="1">
                  <a:off x="948" y="765"/>
                  <a:ext cx="98" cy="199"/>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63" name="Line 330"/>
                <p:cNvSpPr>
                  <a:spLocks noChangeShapeType="1"/>
                </p:cNvSpPr>
                <p:nvPr>
                  <p:custDataLst>
                    <p:tags r:id="rId93"/>
                  </p:custDataLst>
                </p:nvPr>
              </p:nvSpPr>
              <p:spPr bwMode="gray">
                <a:xfrm rot="21081655" flipH="1">
                  <a:off x="1035" y="649"/>
                  <a:ext cx="56" cy="139"/>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64" name="Freeform 331"/>
                <p:cNvSpPr>
                  <a:spLocks/>
                </p:cNvSpPr>
                <p:nvPr>
                  <p:custDataLst>
                    <p:tags r:id="rId94"/>
                  </p:custDataLst>
                </p:nvPr>
              </p:nvSpPr>
              <p:spPr bwMode="gray">
                <a:xfrm rot="-518345">
                  <a:off x="823" y="759"/>
                  <a:ext cx="502" cy="241"/>
                </a:xfrm>
                <a:custGeom>
                  <a:avLst/>
                  <a:gdLst>
                    <a:gd name="T0" fmla="*/ 0 w 612"/>
                    <a:gd name="T1" fmla="*/ 0 h 294"/>
                    <a:gd name="T2" fmla="*/ 84 w 612"/>
                    <a:gd name="T3" fmla="*/ 107 h 294"/>
                    <a:gd name="T4" fmla="*/ 273 w 612"/>
                    <a:gd name="T5" fmla="*/ 50 h 294"/>
                    <a:gd name="T6" fmla="*/ 338 w 612"/>
                    <a:gd name="T7" fmla="*/ 162 h 294"/>
                    <a:gd name="T8" fmla="*/ 0 60000 65536"/>
                    <a:gd name="T9" fmla="*/ 0 60000 65536"/>
                    <a:gd name="T10" fmla="*/ 0 60000 65536"/>
                    <a:gd name="T11" fmla="*/ 0 60000 65536"/>
                    <a:gd name="T12" fmla="*/ 0 w 612"/>
                    <a:gd name="T13" fmla="*/ 0 h 294"/>
                    <a:gd name="T14" fmla="*/ 612 w 612"/>
                    <a:gd name="T15" fmla="*/ 294 h 294"/>
                  </a:gdLst>
                  <a:ahLst/>
                  <a:cxnLst>
                    <a:cxn ang="T8">
                      <a:pos x="T0" y="T1"/>
                    </a:cxn>
                    <a:cxn ang="T9">
                      <a:pos x="T2" y="T3"/>
                    </a:cxn>
                    <a:cxn ang="T10">
                      <a:pos x="T4" y="T5"/>
                    </a:cxn>
                    <a:cxn ang="T11">
                      <a:pos x="T6" y="T7"/>
                    </a:cxn>
                  </a:cxnLst>
                  <a:rect l="T12" t="T13" r="T14" b="T15"/>
                  <a:pathLst>
                    <a:path w="612" h="294">
                      <a:moveTo>
                        <a:pt x="0" y="0"/>
                      </a:moveTo>
                      <a:lnTo>
                        <a:pt x="153" y="195"/>
                      </a:lnTo>
                      <a:lnTo>
                        <a:pt x="495" y="90"/>
                      </a:lnTo>
                      <a:lnTo>
                        <a:pt x="612" y="294"/>
                      </a:lnTo>
                    </a:path>
                  </a:pathLst>
                </a:custGeom>
                <a:no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65" name="Freeform 332"/>
                <p:cNvSpPr>
                  <a:spLocks/>
                </p:cNvSpPr>
                <p:nvPr>
                  <p:custDataLst>
                    <p:tags r:id="rId95"/>
                  </p:custDataLst>
                </p:nvPr>
              </p:nvSpPr>
              <p:spPr bwMode="gray">
                <a:xfrm rot="-518345">
                  <a:off x="1828" y="662"/>
                  <a:ext cx="8" cy="3"/>
                </a:xfrm>
                <a:custGeom>
                  <a:avLst/>
                  <a:gdLst>
                    <a:gd name="T0" fmla="*/ 6 w 9"/>
                    <a:gd name="T1" fmla="*/ 0 h 3"/>
                    <a:gd name="T2" fmla="*/ 0 w 9"/>
                    <a:gd name="T3" fmla="*/ 3 h 3"/>
                    <a:gd name="T4" fmla="*/ 6 w 9"/>
                    <a:gd name="T5" fmla="*/ 0 h 3"/>
                    <a:gd name="T6" fmla="*/ 0 60000 65536"/>
                    <a:gd name="T7" fmla="*/ 0 60000 65536"/>
                    <a:gd name="T8" fmla="*/ 0 60000 65536"/>
                    <a:gd name="T9" fmla="*/ 0 w 9"/>
                    <a:gd name="T10" fmla="*/ 0 h 3"/>
                    <a:gd name="T11" fmla="*/ 9 w 9"/>
                    <a:gd name="T12" fmla="*/ 3 h 3"/>
                  </a:gdLst>
                  <a:ahLst/>
                  <a:cxnLst>
                    <a:cxn ang="T6">
                      <a:pos x="T0" y="T1"/>
                    </a:cxn>
                    <a:cxn ang="T7">
                      <a:pos x="T2" y="T3"/>
                    </a:cxn>
                    <a:cxn ang="T8">
                      <a:pos x="T4" y="T5"/>
                    </a:cxn>
                  </a:cxnLst>
                  <a:rect l="T9" t="T10" r="T11" b="T12"/>
                  <a:pathLst>
                    <a:path w="9" h="3">
                      <a:moveTo>
                        <a:pt x="9" y="0"/>
                      </a:moveTo>
                      <a:cubicBezTo>
                        <a:pt x="6" y="1"/>
                        <a:pt x="0" y="3"/>
                        <a:pt x="0" y="3"/>
                      </a:cubicBezTo>
                      <a:cubicBezTo>
                        <a:pt x="0" y="3"/>
                        <a:pt x="6" y="1"/>
                        <a:pt x="9" y="0"/>
                      </a:cubicBezTo>
                      <a:close/>
                    </a:path>
                  </a:pathLst>
                </a:custGeom>
                <a:no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66" name="Freeform 333"/>
                <p:cNvSpPr>
                  <a:spLocks/>
                </p:cNvSpPr>
                <p:nvPr>
                  <p:custDataLst>
                    <p:tags r:id="rId96"/>
                  </p:custDataLst>
                </p:nvPr>
              </p:nvSpPr>
              <p:spPr bwMode="gray">
                <a:xfrm>
                  <a:off x="1491" y="418"/>
                  <a:ext cx="543" cy="422"/>
                </a:xfrm>
                <a:custGeom>
                  <a:avLst/>
                  <a:gdLst>
                    <a:gd name="T0" fmla="*/ 0 w 543"/>
                    <a:gd name="T1" fmla="*/ 0 h 422"/>
                    <a:gd name="T2" fmla="*/ 341 w 543"/>
                    <a:gd name="T3" fmla="*/ 254 h 422"/>
                    <a:gd name="T4" fmla="*/ 543 w 543"/>
                    <a:gd name="T5" fmla="*/ 422 h 422"/>
                    <a:gd name="T6" fmla="*/ 0 60000 65536"/>
                    <a:gd name="T7" fmla="*/ 0 60000 65536"/>
                    <a:gd name="T8" fmla="*/ 0 60000 65536"/>
                    <a:gd name="T9" fmla="*/ 0 w 543"/>
                    <a:gd name="T10" fmla="*/ 0 h 422"/>
                    <a:gd name="T11" fmla="*/ 543 w 543"/>
                    <a:gd name="T12" fmla="*/ 422 h 422"/>
                  </a:gdLst>
                  <a:ahLst/>
                  <a:cxnLst>
                    <a:cxn ang="T6">
                      <a:pos x="T0" y="T1"/>
                    </a:cxn>
                    <a:cxn ang="T7">
                      <a:pos x="T2" y="T3"/>
                    </a:cxn>
                    <a:cxn ang="T8">
                      <a:pos x="T4" y="T5"/>
                    </a:cxn>
                  </a:cxnLst>
                  <a:rect l="T9" t="T10" r="T11" b="T12"/>
                  <a:pathLst>
                    <a:path w="543" h="422">
                      <a:moveTo>
                        <a:pt x="0" y="0"/>
                      </a:moveTo>
                      <a:lnTo>
                        <a:pt x="341" y="254"/>
                      </a:lnTo>
                      <a:lnTo>
                        <a:pt x="543" y="422"/>
                      </a:lnTo>
                    </a:path>
                  </a:pathLst>
                </a:custGeom>
                <a:noFill/>
                <a:ln w="2857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67" name="Rectangle 334"/>
                <p:cNvSpPr>
                  <a:spLocks noChangeArrowheads="1"/>
                </p:cNvSpPr>
                <p:nvPr>
                  <p:custDataLst>
                    <p:tags r:id="rId97"/>
                  </p:custDataLst>
                </p:nvPr>
              </p:nvSpPr>
              <p:spPr bwMode="gray">
                <a:xfrm rot="-30539">
                  <a:off x="1984" y="982"/>
                  <a:ext cx="48" cy="27"/>
                </a:xfrm>
                <a:prstGeom prst="rect">
                  <a:avLst/>
                </a:prstGeom>
                <a:solidFill>
                  <a:srgbClr val="C0C0C0"/>
                </a:solidFill>
                <a:ln w="9525" algn="ctr">
                  <a:noFill/>
                  <a:miter lim="800000"/>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68" name="Rectangle 335"/>
                <p:cNvSpPr>
                  <a:spLocks noChangeArrowheads="1"/>
                </p:cNvSpPr>
                <p:nvPr>
                  <p:custDataLst>
                    <p:tags r:id="rId98"/>
                  </p:custDataLst>
                </p:nvPr>
              </p:nvSpPr>
              <p:spPr bwMode="gray">
                <a:xfrm rot="457267">
                  <a:off x="2019" y="831"/>
                  <a:ext cx="45" cy="24"/>
                </a:xfrm>
                <a:prstGeom prst="rect">
                  <a:avLst/>
                </a:prstGeom>
                <a:solidFill>
                  <a:srgbClr val="C0C0C0"/>
                </a:solidFill>
                <a:ln w="9525" algn="ctr">
                  <a:noFill/>
                  <a:miter lim="800000"/>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69" name="Line 336"/>
                <p:cNvSpPr>
                  <a:spLocks noChangeShapeType="1"/>
                </p:cNvSpPr>
                <p:nvPr>
                  <p:custDataLst>
                    <p:tags r:id="rId99"/>
                  </p:custDataLst>
                </p:nvPr>
              </p:nvSpPr>
              <p:spPr bwMode="gray">
                <a:xfrm rot="-518345">
                  <a:off x="1842" y="667"/>
                  <a:ext cx="1" cy="159"/>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70" name="AutoShape 337"/>
                <p:cNvSpPr>
                  <a:spLocks noChangeArrowheads="1"/>
                </p:cNvSpPr>
                <p:nvPr>
                  <p:custDataLst>
                    <p:tags r:id="rId100"/>
                  </p:custDataLst>
                </p:nvPr>
              </p:nvSpPr>
              <p:spPr bwMode="gray">
                <a:xfrm rot="101173">
                  <a:off x="1672" y="814"/>
                  <a:ext cx="188" cy="182"/>
                </a:xfrm>
                <a:prstGeom prst="cube">
                  <a:avLst>
                    <a:gd name="adj" fmla="val 85310"/>
                  </a:avLst>
                </a:prstGeom>
                <a:solidFill>
                  <a:schemeClr val="hlink"/>
                </a:solidFill>
                <a:ln w="9525">
                  <a:solidFill>
                    <a:srgbClr val="C0C0C0"/>
                  </a:solidFill>
                  <a:miter lim="800000"/>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71" name="Freeform 338"/>
                <p:cNvSpPr>
                  <a:spLocks/>
                </p:cNvSpPr>
                <p:nvPr>
                  <p:custDataLst>
                    <p:tags r:id="rId101"/>
                  </p:custDataLst>
                </p:nvPr>
              </p:nvSpPr>
              <p:spPr bwMode="gray">
                <a:xfrm rot="-518345">
                  <a:off x="1692" y="830"/>
                  <a:ext cx="180" cy="147"/>
                </a:xfrm>
                <a:custGeom>
                  <a:avLst/>
                  <a:gdLst>
                    <a:gd name="T0" fmla="*/ 0 w 219"/>
                    <a:gd name="T1" fmla="*/ 99 h 179"/>
                    <a:gd name="T2" fmla="*/ 2 w 219"/>
                    <a:gd name="T3" fmla="*/ 83 h 179"/>
                    <a:gd name="T4" fmla="*/ 122 w 219"/>
                    <a:gd name="T5" fmla="*/ 0 h 179"/>
                    <a:gd name="T6" fmla="*/ 122 w 219"/>
                    <a:gd name="T7" fmla="*/ 17 h 179"/>
                    <a:gd name="T8" fmla="*/ 0 w 219"/>
                    <a:gd name="T9" fmla="*/ 99 h 179"/>
                    <a:gd name="T10" fmla="*/ 0 60000 65536"/>
                    <a:gd name="T11" fmla="*/ 0 60000 65536"/>
                    <a:gd name="T12" fmla="*/ 0 60000 65536"/>
                    <a:gd name="T13" fmla="*/ 0 60000 65536"/>
                    <a:gd name="T14" fmla="*/ 0 60000 65536"/>
                    <a:gd name="T15" fmla="*/ 0 w 219"/>
                    <a:gd name="T16" fmla="*/ 0 h 179"/>
                    <a:gd name="T17" fmla="*/ 219 w 219"/>
                    <a:gd name="T18" fmla="*/ 179 h 179"/>
                  </a:gdLst>
                  <a:ahLst/>
                  <a:cxnLst>
                    <a:cxn ang="T10">
                      <a:pos x="T0" y="T1"/>
                    </a:cxn>
                    <a:cxn ang="T11">
                      <a:pos x="T2" y="T3"/>
                    </a:cxn>
                    <a:cxn ang="T12">
                      <a:pos x="T4" y="T5"/>
                    </a:cxn>
                    <a:cxn ang="T13">
                      <a:pos x="T6" y="T7"/>
                    </a:cxn>
                    <a:cxn ang="T14">
                      <a:pos x="T8" y="T9"/>
                    </a:cxn>
                  </a:cxnLst>
                  <a:rect l="T15" t="T16" r="T17" b="T18"/>
                  <a:pathLst>
                    <a:path w="219" h="179">
                      <a:moveTo>
                        <a:pt x="0" y="179"/>
                      </a:moveTo>
                      <a:lnTo>
                        <a:pt x="3" y="150"/>
                      </a:lnTo>
                      <a:lnTo>
                        <a:pt x="219" y="0"/>
                      </a:lnTo>
                      <a:lnTo>
                        <a:pt x="219" y="30"/>
                      </a:lnTo>
                      <a:lnTo>
                        <a:pt x="0" y="179"/>
                      </a:lnTo>
                      <a:close/>
                    </a:path>
                  </a:pathLst>
                </a:custGeom>
                <a:solidFill>
                  <a:srgbClr val="DDDDDD"/>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72" name="Freeform 339"/>
                <p:cNvSpPr>
                  <a:spLocks/>
                </p:cNvSpPr>
                <p:nvPr>
                  <p:custDataLst>
                    <p:tags r:id="rId102"/>
                  </p:custDataLst>
                </p:nvPr>
              </p:nvSpPr>
              <p:spPr bwMode="gray">
                <a:xfrm rot="-518345">
                  <a:off x="1671" y="966"/>
                  <a:ext cx="30" cy="29"/>
                </a:xfrm>
                <a:custGeom>
                  <a:avLst/>
                  <a:gdLst>
                    <a:gd name="T0" fmla="*/ 0 w 39"/>
                    <a:gd name="T1" fmla="*/ 15 h 36"/>
                    <a:gd name="T2" fmla="*/ 2 w 39"/>
                    <a:gd name="T3" fmla="*/ 0 h 36"/>
                    <a:gd name="T4" fmla="*/ 18 w 39"/>
                    <a:gd name="T5" fmla="*/ 4 h 36"/>
                    <a:gd name="T6" fmla="*/ 17 w 39"/>
                    <a:gd name="T7" fmla="*/ 19 h 36"/>
                    <a:gd name="T8" fmla="*/ 0 w 39"/>
                    <a:gd name="T9" fmla="*/ 15 h 36"/>
                    <a:gd name="T10" fmla="*/ 0 60000 65536"/>
                    <a:gd name="T11" fmla="*/ 0 60000 65536"/>
                    <a:gd name="T12" fmla="*/ 0 60000 65536"/>
                    <a:gd name="T13" fmla="*/ 0 60000 65536"/>
                    <a:gd name="T14" fmla="*/ 0 60000 65536"/>
                    <a:gd name="T15" fmla="*/ 0 w 39"/>
                    <a:gd name="T16" fmla="*/ 0 h 36"/>
                    <a:gd name="T17" fmla="*/ 39 w 39"/>
                    <a:gd name="T18" fmla="*/ 36 h 36"/>
                  </a:gdLst>
                  <a:ahLst/>
                  <a:cxnLst>
                    <a:cxn ang="T10">
                      <a:pos x="T0" y="T1"/>
                    </a:cxn>
                    <a:cxn ang="T11">
                      <a:pos x="T2" y="T3"/>
                    </a:cxn>
                    <a:cxn ang="T12">
                      <a:pos x="T4" y="T5"/>
                    </a:cxn>
                    <a:cxn ang="T13">
                      <a:pos x="T6" y="T7"/>
                    </a:cxn>
                    <a:cxn ang="T14">
                      <a:pos x="T8" y="T9"/>
                    </a:cxn>
                  </a:cxnLst>
                  <a:rect l="T15" t="T16" r="T17" b="T18"/>
                  <a:pathLst>
                    <a:path w="39" h="36">
                      <a:moveTo>
                        <a:pt x="0" y="27"/>
                      </a:moveTo>
                      <a:lnTo>
                        <a:pt x="3" y="0"/>
                      </a:lnTo>
                      <a:lnTo>
                        <a:pt x="39" y="8"/>
                      </a:lnTo>
                      <a:lnTo>
                        <a:pt x="37" y="36"/>
                      </a:lnTo>
                      <a:lnTo>
                        <a:pt x="0" y="27"/>
                      </a:lnTo>
                      <a:close/>
                    </a:path>
                  </a:pathLst>
                </a:custGeom>
                <a:solidFill>
                  <a:srgbClr val="EAEAEA"/>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73" name="Freeform 340"/>
                <p:cNvSpPr>
                  <a:spLocks/>
                </p:cNvSpPr>
                <p:nvPr>
                  <p:custDataLst>
                    <p:tags r:id="rId103"/>
                  </p:custDataLst>
                </p:nvPr>
              </p:nvSpPr>
              <p:spPr bwMode="gray">
                <a:xfrm rot="-518345">
                  <a:off x="1536" y="926"/>
                  <a:ext cx="160" cy="39"/>
                </a:xfrm>
                <a:custGeom>
                  <a:avLst/>
                  <a:gdLst>
                    <a:gd name="T0" fmla="*/ 0 w 195"/>
                    <a:gd name="T1" fmla="*/ 10 h 47"/>
                    <a:gd name="T2" fmla="*/ 97 w 195"/>
                    <a:gd name="T3" fmla="*/ 27 h 47"/>
                    <a:gd name="T4" fmla="*/ 107 w 195"/>
                    <a:gd name="T5" fmla="*/ 18 h 47"/>
                    <a:gd name="T6" fmla="*/ 2 w 195"/>
                    <a:gd name="T7" fmla="*/ 0 h 47"/>
                    <a:gd name="T8" fmla="*/ 0 w 195"/>
                    <a:gd name="T9" fmla="*/ 10 h 47"/>
                    <a:gd name="T10" fmla="*/ 0 60000 65536"/>
                    <a:gd name="T11" fmla="*/ 0 60000 65536"/>
                    <a:gd name="T12" fmla="*/ 0 60000 65536"/>
                    <a:gd name="T13" fmla="*/ 0 60000 65536"/>
                    <a:gd name="T14" fmla="*/ 0 60000 65536"/>
                    <a:gd name="T15" fmla="*/ 0 w 195"/>
                    <a:gd name="T16" fmla="*/ 0 h 47"/>
                    <a:gd name="T17" fmla="*/ 195 w 195"/>
                    <a:gd name="T18" fmla="*/ 47 h 47"/>
                  </a:gdLst>
                  <a:ahLst/>
                  <a:cxnLst>
                    <a:cxn ang="T10">
                      <a:pos x="T0" y="T1"/>
                    </a:cxn>
                    <a:cxn ang="T11">
                      <a:pos x="T2" y="T3"/>
                    </a:cxn>
                    <a:cxn ang="T12">
                      <a:pos x="T4" y="T5"/>
                    </a:cxn>
                    <a:cxn ang="T13">
                      <a:pos x="T6" y="T7"/>
                    </a:cxn>
                    <a:cxn ang="T14">
                      <a:pos x="T8" y="T9"/>
                    </a:cxn>
                  </a:cxnLst>
                  <a:rect l="T15" t="T16" r="T17" b="T18"/>
                  <a:pathLst>
                    <a:path w="195" h="47">
                      <a:moveTo>
                        <a:pt x="0" y="17"/>
                      </a:moveTo>
                      <a:lnTo>
                        <a:pt x="176" y="47"/>
                      </a:lnTo>
                      <a:lnTo>
                        <a:pt x="195" y="33"/>
                      </a:lnTo>
                      <a:lnTo>
                        <a:pt x="3" y="0"/>
                      </a:lnTo>
                      <a:lnTo>
                        <a:pt x="0" y="17"/>
                      </a:lnTo>
                      <a:close/>
                    </a:path>
                  </a:pathLst>
                </a:custGeom>
                <a:solidFill>
                  <a:srgbClr val="EAEAEA"/>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74" name="Freeform 341"/>
                <p:cNvSpPr>
                  <a:spLocks/>
                </p:cNvSpPr>
                <p:nvPr>
                  <p:custDataLst>
                    <p:tags r:id="rId104"/>
                  </p:custDataLst>
                </p:nvPr>
              </p:nvSpPr>
              <p:spPr bwMode="gray">
                <a:xfrm rot="-518345">
                  <a:off x="1533" y="938"/>
                  <a:ext cx="22" cy="53"/>
                </a:xfrm>
                <a:custGeom>
                  <a:avLst/>
                  <a:gdLst>
                    <a:gd name="T0" fmla="*/ 0 w 30"/>
                    <a:gd name="T1" fmla="*/ 33 h 65"/>
                    <a:gd name="T2" fmla="*/ 4 w 30"/>
                    <a:gd name="T3" fmla="*/ 0 h 65"/>
                    <a:gd name="T4" fmla="*/ 12 w 30"/>
                    <a:gd name="T5" fmla="*/ 3 h 65"/>
                    <a:gd name="T6" fmla="*/ 8 w 30"/>
                    <a:gd name="T7" fmla="*/ 35 h 65"/>
                    <a:gd name="T8" fmla="*/ 0 w 30"/>
                    <a:gd name="T9" fmla="*/ 33 h 65"/>
                    <a:gd name="T10" fmla="*/ 0 60000 65536"/>
                    <a:gd name="T11" fmla="*/ 0 60000 65536"/>
                    <a:gd name="T12" fmla="*/ 0 60000 65536"/>
                    <a:gd name="T13" fmla="*/ 0 60000 65536"/>
                    <a:gd name="T14" fmla="*/ 0 60000 65536"/>
                    <a:gd name="T15" fmla="*/ 0 w 30"/>
                    <a:gd name="T16" fmla="*/ 0 h 65"/>
                    <a:gd name="T17" fmla="*/ 30 w 30"/>
                    <a:gd name="T18" fmla="*/ 65 h 65"/>
                  </a:gdLst>
                  <a:ahLst/>
                  <a:cxnLst>
                    <a:cxn ang="T10">
                      <a:pos x="T0" y="T1"/>
                    </a:cxn>
                    <a:cxn ang="T11">
                      <a:pos x="T2" y="T3"/>
                    </a:cxn>
                    <a:cxn ang="T12">
                      <a:pos x="T4" y="T5"/>
                    </a:cxn>
                    <a:cxn ang="T13">
                      <a:pos x="T6" y="T7"/>
                    </a:cxn>
                    <a:cxn ang="T14">
                      <a:pos x="T8" y="T9"/>
                    </a:cxn>
                  </a:cxnLst>
                  <a:rect l="T15" t="T16" r="T17" b="T18"/>
                  <a:pathLst>
                    <a:path w="30" h="65">
                      <a:moveTo>
                        <a:pt x="0" y="60"/>
                      </a:moveTo>
                      <a:lnTo>
                        <a:pt x="9" y="0"/>
                      </a:lnTo>
                      <a:lnTo>
                        <a:pt x="30" y="6"/>
                      </a:lnTo>
                      <a:lnTo>
                        <a:pt x="21" y="65"/>
                      </a:lnTo>
                      <a:lnTo>
                        <a:pt x="0" y="60"/>
                      </a:lnTo>
                      <a:close/>
                    </a:path>
                  </a:pathLst>
                </a:custGeom>
                <a:solidFill>
                  <a:srgbClr val="EAEAEA"/>
                </a:solidFill>
                <a:ln w="952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75" name="AutoShape 342"/>
                <p:cNvSpPr>
                  <a:spLocks noChangeArrowheads="1"/>
                </p:cNvSpPr>
                <p:nvPr>
                  <p:custDataLst>
                    <p:tags r:id="rId105"/>
                  </p:custDataLst>
                </p:nvPr>
              </p:nvSpPr>
              <p:spPr bwMode="gray">
                <a:xfrm rot="101173">
                  <a:off x="1543" y="729"/>
                  <a:ext cx="267" cy="228"/>
                </a:xfrm>
                <a:prstGeom prst="cube">
                  <a:avLst>
                    <a:gd name="adj" fmla="val 66620"/>
                  </a:avLst>
                </a:prstGeom>
                <a:solidFill>
                  <a:schemeClr val="hlink"/>
                </a:solidFill>
                <a:ln w="9525">
                  <a:solidFill>
                    <a:srgbClr val="C0C0C0"/>
                  </a:solidFill>
                  <a:miter lim="800000"/>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76" name="Line 343"/>
                <p:cNvSpPr>
                  <a:spLocks noChangeShapeType="1"/>
                </p:cNvSpPr>
                <p:nvPr>
                  <p:custDataLst>
                    <p:tags r:id="rId106"/>
                  </p:custDataLst>
                </p:nvPr>
              </p:nvSpPr>
              <p:spPr bwMode="gray">
                <a:xfrm rot="21081655" flipV="1">
                  <a:off x="1339" y="808"/>
                  <a:ext cx="446" cy="128"/>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77" name="Line 344"/>
                <p:cNvSpPr>
                  <a:spLocks noChangeShapeType="1"/>
                </p:cNvSpPr>
                <p:nvPr>
                  <p:custDataLst>
                    <p:tags r:id="rId107"/>
                  </p:custDataLst>
                </p:nvPr>
              </p:nvSpPr>
              <p:spPr bwMode="gray">
                <a:xfrm rot="21081655" flipV="1">
                  <a:off x="1488" y="691"/>
                  <a:ext cx="355" cy="102"/>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78" name="Line 345"/>
                <p:cNvSpPr>
                  <a:spLocks noChangeShapeType="1"/>
                </p:cNvSpPr>
                <p:nvPr>
                  <p:custDataLst>
                    <p:tags r:id="rId108"/>
                  </p:custDataLst>
                </p:nvPr>
              </p:nvSpPr>
              <p:spPr bwMode="gray">
                <a:xfrm rot="21081655" flipH="1">
                  <a:off x="1763" y="675"/>
                  <a:ext cx="77" cy="96"/>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79" name="Line 346"/>
                <p:cNvSpPr>
                  <a:spLocks noChangeShapeType="1"/>
                </p:cNvSpPr>
                <p:nvPr>
                  <p:custDataLst>
                    <p:tags r:id="rId109"/>
                  </p:custDataLst>
                </p:nvPr>
              </p:nvSpPr>
              <p:spPr bwMode="gray">
                <a:xfrm rot="-518345">
                  <a:off x="1784" y="777"/>
                  <a:ext cx="0" cy="194"/>
                </a:xfrm>
                <a:prstGeom prst="line">
                  <a:avLst/>
                </a:prstGeom>
                <a:noFill/>
                <a:ln w="28575">
                  <a:solidFill>
                    <a:srgbClr val="C0C0C0"/>
                  </a:solidFill>
                  <a:round/>
                  <a:headEnd/>
                  <a:tailEnd/>
                </a:ln>
              </p:spPr>
              <p:txBody>
                <a:bodyPr/>
                <a:lstStyle/>
                <a:p>
                  <a:pPr fontAlgn="base">
                    <a:spcBef>
                      <a:spcPct val="0"/>
                    </a:spcBef>
                    <a:spcAft>
                      <a:spcPct val="0"/>
                    </a:spcAft>
                  </a:pPr>
                  <a:endParaRPr lang="en-US" sz="1400" b="1" dirty="0">
                    <a:solidFill>
                      <a:srgbClr val="000000"/>
                    </a:solidFill>
                  </a:endParaRPr>
                </a:p>
              </p:txBody>
            </p:sp>
            <p:grpSp>
              <p:nvGrpSpPr>
                <p:cNvPr id="15" name="Group 347"/>
                <p:cNvGrpSpPr>
                  <a:grpSpLocks/>
                </p:cNvGrpSpPr>
                <p:nvPr>
                  <p:custDataLst>
                    <p:tags r:id="rId110"/>
                  </p:custDataLst>
                </p:nvPr>
              </p:nvGrpSpPr>
              <p:grpSpPr bwMode="auto">
                <a:xfrm>
                  <a:off x="1402" y="496"/>
                  <a:ext cx="26" cy="23"/>
                  <a:chOff x="1405" y="460"/>
                  <a:chExt cx="26" cy="23"/>
                </a:xfrm>
              </p:grpSpPr>
              <p:sp>
                <p:nvSpPr>
                  <p:cNvPr id="25083" name="Freeform 348"/>
                  <p:cNvSpPr>
                    <a:spLocks/>
                  </p:cNvSpPr>
                  <p:nvPr>
                    <p:custDataLst>
                      <p:tags r:id="rId113"/>
                    </p:custDataLst>
                  </p:nvPr>
                </p:nvSpPr>
                <p:spPr bwMode="gray">
                  <a:xfrm rot="-518345">
                    <a:off x="1414" y="467"/>
                    <a:ext cx="17" cy="16"/>
                  </a:xfrm>
                  <a:custGeom>
                    <a:avLst/>
                    <a:gdLst>
                      <a:gd name="T0" fmla="*/ 7 w 20"/>
                      <a:gd name="T1" fmla="*/ 10 h 20"/>
                      <a:gd name="T2" fmla="*/ 0 w 20"/>
                      <a:gd name="T3" fmla="*/ 2 h 20"/>
                      <a:gd name="T4" fmla="*/ 7 w 20"/>
                      <a:gd name="T5" fmla="*/ 0 h 20"/>
                      <a:gd name="T6" fmla="*/ 12 w 20"/>
                      <a:gd name="T7" fmla="*/ 7 h 20"/>
                      <a:gd name="T8" fmla="*/ 7 w 20"/>
                      <a:gd name="T9" fmla="*/ 10 h 20"/>
                      <a:gd name="T10" fmla="*/ 0 60000 65536"/>
                      <a:gd name="T11" fmla="*/ 0 60000 65536"/>
                      <a:gd name="T12" fmla="*/ 0 60000 65536"/>
                      <a:gd name="T13" fmla="*/ 0 60000 65536"/>
                      <a:gd name="T14" fmla="*/ 0 60000 65536"/>
                      <a:gd name="T15" fmla="*/ 0 w 20"/>
                      <a:gd name="T16" fmla="*/ 0 h 20"/>
                      <a:gd name="T17" fmla="*/ 20 w 20"/>
                      <a:gd name="T18" fmla="*/ 20 h 20"/>
                    </a:gdLst>
                    <a:ahLst/>
                    <a:cxnLst>
                      <a:cxn ang="T10">
                        <a:pos x="T0" y="T1"/>
                      </a:cxn>
                      <a:cxn ang="T11">
                        <a:pos x="T2" y="T3"/>
                      </a:cxn>
                      <a:cxn ang="T12">
                        <a:pos x="T4" y="T5"/>
                      </a:cxn>
                      <a:cxn ang="T13">
                        <a:pos x="T6" y="T7"/>
                      </a:cxn>
                      <a:cxn ang="T14">
                        <a:pos x="T8" y="T9"/>
                      </a:cxn>
                    </a:cxnLst>
                    <a:rect l="T15" t="T16" r="T17" b="T18"/>
                    <a:pathLst>
                      <a:path w="20" h="20">
                        <a:moveTo>
                          <a:pt x="11" y="20"/>
                        </a:moveTo>
                        <a:lnTo>
                          <a:pt x="0" y="5"/>
                        </a:lnTo>
                        <a:lnTo>
                          <a:pt x="11" y="0"/>
                        </a:lnTo>
                        <a:lnTo>
                          <a:pt x="20" y="14"/>
                        </a:lnTo>
                        <a:lnTo>
                          <a:pt x="11" y="20"/>
                        </a:lnTo>
                        <a:close/>
                      </a:path>
                    </a:pathLst>
                  </a:custGeom>
                  <a:solidFill>
                    <a:srgbClr val="4D4D4D"/>
                  </a:solidFill>
                  <a:ln w="9525" cap="flat" cmpd="sng">
                    <a:solidFill>
                      <a:srgbClr val="4D4D4D"/>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sp>
                <p:nvSpPr>
                  <p:cNvPr id="25084" name="Freeform 349"/>
                  <p:cNvSpPr>
                    <a:spLocks/>
                  </p:cNvSpPr>
                  <p:nvPr>
                    <p:custDataLst>
                      <p:tags r:id="rId114"/>
                    </p:custDataLst>
                  </p:nvPr>
                </p:nvSpPr>
                <p:spPr bwMode="gray">
                  <a:xfrm rot="-518345">
                    <a:off x="1405" y="460"/>
                    <a:ext cx="25" cy="18"/>
                  </a:xfrm>
                  <a:custGeom>
                    <a:avLst/>
                    <a:gdLst>
                      <a:gd name="T0" fmla="*/ 5 w 31"/>
                      <a:gd name="T1" fmla="*/ 12 h 22"/>
                      <a:gd name="T2" fmla="*/ 16 w 31"/>
                      <a:gd name="T3" fmla="*/ 5 h 22"/>
                      <a:gd name="T4" fmla="*/ 8 w 31"/>
                      <a:gd name="T5" fmla="*/ 0 h 22"/>
                      <a:gd name="T6" fmla="*/ 0 w 31"/>
                      <a:gd name="T7" fmla="*/ 8 h 22"/>
                      <a:gd name="T8" fmla="*/ 5 w 31"/>
                      <a:gd name="T9" fmla="*/ 12 h 22"/>
                      <a:gd name="T10" fmla="*/ 0 60000 65536"/>
                      <a:gd name="T11" fmla="*/ 0 60000 65536"/>
                      <a:gd name="T12" fmla="*/ 0 60000 65536"/>
                      <a:gd name="T13" fmla="*/ 0 60000 65536"/>
                      <a:gd name="T14" fmla="*/ 0 60000 65536"/>
                      <a:gd name="T15" fmla="*/ 0 w 31"/>
                      <a:gd name="T16" fmla="*/ 0 h 22"/>
                      <a:gd name="T17" fmla="*/ 31 w 31"/>
                      <a:gd name="T18" fmla="*/ 22 h 22"/>
                    </a:gdLst>
                    <a:ahLst/>
                    <a:cxnLst>
                      <a:cxn ang="T10">
                        <a:pos x="T0" y="T1"/>
                      </a:cxn>
                      <a:cxn ang="T11">
                        <a:pos x="T2" y="T3"/>
                      </a:cxn>
                      <a:cxn ang="T12">
                        <a:pos x="T4" y="T5"/>
                      </a:cxn>
                      <a:cxn ang="T13">
                        <a:pos x="T6" y="T7"/>
                      </a:cxn>
                      <a:cxn ang="T14">
                        <a:pos x="T8" y="T9"/>
                      </a:cxn>
                    </a:cxnLst>
                    <a:rect l="T15" t="T16" r="T17" b="T18"/>
                    <a:pathLst>
                      <a:path w="31" h="22">
                        <a:moveTo>
                          <a:pt x="9" y="22"/>
                        </a:moveTo>
                        <a:lnTo>
                          <a:pt x="31" y="9"/>
                        </a:lnTo>
                        <a:lnTo>
                          <a:pt x="16" y="0"/>
                        </a:lnTo>
                        <a:lnTo>
                          <a:pt x="0" y="15"/>
                        </a:lnTo>
                        <a:lnTo>
                          <a:pt x="9" y="22"/>
                        </a:lnTo>
                        <a:close/>
                      </a:path>
                    </a:pathLst>
                  </a:custGeom>
                  <a:solidFill>
                    <a:srgbClr val="4D4D4D"/>
                  </a:solidFill>
                  <a:ln w="9525" cap="flat" cmpd="sng">
                    <a:solidFill>
                      <a:srgbClr val="4D4D4D"/>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sp>
              <p:nvSpPr>
                <p:cNvPr id="25081" name="Rectangle 350"/>
                <p:cNvSpPr>
                  <a:spLocks noChangeArrowheads="1"/>
                </p:cNvSpPr>
                <p:nvPr>
                  <p:custDataLst>
                    <p:tags r:id="rId111"/>
                  </p:custDataLst>
                </p:nvPr>
              </p:nvSpPr>
              <p:spPr bwMode="gray">
                <a:xfrm rot="-30539">
                  <a:off x="660" y="938"/>
                  <a:ext cx="45" cy="27"/>
                </a:xfrm>
                <a:prstGeom prst="rect">
                  <a:avLst/>
                </a:prstGeom>
                <a:solidFill>
                  <a:srgbClr val="C0C0C0"/>
                </a:solidFill>
                <a:ln w="9525" algn="ctr">
                  <a:noFill/>
                  <a:miter lim="800000"/>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82" name="Freeform 351"/>
                <p:cNvSpPr>
                  <a:spLocks/>
                </p:cNvSpPr>
                <p:nvPr>
                  <p:custDataLst>
                    <p:tags r:id="rId112"/>
                  </p:custDataLst>
                </p:nvPr>
              </p:nvSpPr>
              <p:spPr bwMode="gray">
                <a:xfrm>
                  <a:off x="1371" y="567"/>
                  <a:ext cx="623" cy="427"/>
                </a:xfrm>
                <a:custGeom>
                  <a:avLst/>
                  <a:gdLst>
                    <a:gd name="T0" fmla="*/ 0 w 623"/>
                    <a:gd name="T1" fmla="*/ 0 h 427"/>
                    <a:gd name="T2" fmla="*/ 393 w 623"/>
                    <a:gd name="T3" fmla="*/ 209 h 427"/>
                    <a:gd name="T4" fmla="*/ 623 w 623"/>
                    <a:gd name="T5" fmla="*/ 427 h 427"/>
                    <a:gd name="T6" fmla="*/ 0 60000 65536"/>
                    <a:gd name="T7" fmla="*/ 0 60000 65536"/>
                    <a:gd name="T8" fmla="*/ 0 60000 65536"/>
                    <a:gd name="T9" fmla="*/ 0 w 623"/>
                    <a:gd name="T10" fmla="*/ 0 h 427"/>
                    <a:gd name="T11" fmla="*/ 623 w 623"/>
                    <a:gd name="T12" fmla="*/ 427 h 427"/>
                  </a:gdLst>
                  <a:ahLst/>
                  <a:cxnLst>
                    <a:cxn ang="T6">
                      <a:pos x="T0" y="T1"/>
                    </a:cxn>
                    <a:cxn ang="T7">
                      <a:pos x="T2" y="T3"/>
                    </a:cxn>
                    <a:cxn ang="T8">
                      <a:pos x="T4" y="T5"/>
                    </a:cxn>
                  </a:cxnLst>
                  <a:rect l="T9" t="T10" r="T11" b="T12"/>
                  <a:pathLst>
                    <a:path w="623" h="427">
                      <a:moveTo>
                        <a:pt x="0" y="0"/>
                      </a:moveTo>
                      <a:lnTo>
                        <a:pt x="393" y="209"/>
                      </a:lnTo>
                      <a:lnTo>
                        <a:pt x="623" y="427"/>
                      </a:lnTo>
                    </a:path>
                  </a:pathLst>
                </a:custGeom>
                <a:noFill/>
                <a:ln w="28575" cap="flat" cmpd="sng">
                  <a:solidFill>
                    <a:srgbClr val="C0C0C0"/>
                  </a:solidFill>
                  <a:prstDash val="solid"/>
                  <a:round/>
                  <a:headEnd type="none" w="med" len="med"/>
                  <a:tailEnd type="none" w="med" len="med"/>
                </a:ln>
              </p:spPr>
              <p:txBody>
                <a:bodyPr/>
                <a:lstStyle/>
                <a:p>
                  <a:pPr fontAlgn="base">
                    <a:spcBef>
                      <a:spcPct val="0"/>
                    </a:spcBef>
                    <a:spcAft>
                      <a:spcPct val="0"/>
                    </a:spcAft>
                  </a:pPr>
                  <a:endParaRPr lang="en-US" sz="1400" b="1" dirty="0">
                    <a:solidFill>
                      <a:srgbClr val="000000"/>
                    </a:solidFill>
                  </a:endParaRPr>
                </a:p>
              </p:txBody>
            </p:sp>
          </p:grpSp>
        </p:grpSp>
        <p:grpSp>
          <p:nvGrpSpPr>
            <p:cNvPr id="16" name="Group 353"/>
            <p:cNvGrpSpPr>
              <a:grpSpLocks/>
            </p:cNvGrpSpPr>
            <p:nvPr>
              <p:custDataLst>
                <p:tags r:id="rId52"/>
              </p:custDataLst>
            </p:nvPr>
          </p:nvGrpSpPr>
          <p:grpSpPr bwMode="auto">
            <a:xfrm flipH="1">
              <a:off x="1595438" y="1820863"/>
              <a:ext cx="128587" cy="222250"/>
              <a:chOff x="23151" y="12236"/>
              <a:chExt cx="239" cy="391"/>
            </a:xfrm>
          </p:grpSpPr>
          <p:sp>
            <p:nvSpPr>
              <p:cNvPr id="25024" name="Freeform 354"/>
              <p:cNvSpPr>
                <a:spLocks/>
              </p:cNvSpPr>
              <p:nvPr/>
            </p:nvSpPr>
            <p:spPr bwMode="auto">
              <a:xfrm>
                <a:off x="23152" y="12428"/>
                <a:ext cx="238" cy="199"/>
              </a:xfrm>
              <a:custGeom>
                <a:avLst/>
                <a:gdLst>
                  <a:gd name="T0" fmla="*/ 31 w 238"/>
                  <a:gd name="T1" fmla="*/ 0 h 199"/>
                  <a:gd name="T2" fmla="*/ 199 w 238"/>
                  <a:gd name="T3" fmla="*/ 0 h 199"/>
                  <a:gd name="T4" fmla="*/ 238 w 238"/>
                  <a:gd name="T5" fmla="*/ 199 h 199"/>
                  <a:gd name="T6" fmla="*/ 0 w 238"/>
                  <a:gd name="T7" fmla="*/ 196 h 199"/>
                  <a:gd name="T8" fmla="*/ 31 w 238"/>
                  <a:gd name="T9" fmla="*/ 0 h 199"/>
                  <a:gd name="T10" fmla="*/ 0 60000 65536"/>
                  <a:gd name="T11" fmla="*/ 0 60000 65536"/>
                  <a:gd name="T12" fmla="*/ 0 60000 65536"/>
                  <a:gd name="T13" fmla="*/ 0 60000 65536"/>
                  <a:gd name="T14" fmla="*/ 0 60000 65536"/>
                  <a:gd name="T15" fmla="*/ 0 w 238"/>
                  <a:gd name="T16" fmla="*/ 0 h 199"/>
                  <a:gd name="T17" fmla="*/ 238 w 238"/>
                  <a:gd name="T18" fmla="*/ 199 h 199"/>
                </a:gdLst>
                <a:ahLst/>
                <a:cxnLst>
                  <a:cxn ang="T10">
                    <a:pos x="T0" y="T1"/>
                  </a:cxn>
                  <a:cxn ang="T11">
                    <a:pos x="T2" y="T3"/>
                  </a:cxn>
                  <a:cxn ang="T12">
                    <a:pos x="T4" y="T5"/>
                  </a:cxn>
                  <a:cxn ang="T13">
                    <a:pos x="T6" y="T7"/>
                  </a:cxn>
                  <a:cxn ang="T14">
                    <a:pos x="T8" y="T9"/>
                  </a:cxn>
                </a:cxnLst>
                <a:rect l="T15" t="T16" r="T17" b="T18"/>
                <a:pathLst>
                  <a:path w="238" h="199">
                    <a:moveTo>
                      <a:pt x="31" y="0"/>
                    </a:moveTo>
                    <a:lnTo>
                      <a:pt x="199" y="0"/>
                    </a:lnTo>
                    <a:lnTo>
                      <a:pt x="238" y="199"/>
                    </a:lnTo>
                    <a:lnTo>
                      <a:pt x="0" y="196"/>
                    </a:lnTo>
                    <a:lnTo>
                      <a:pt x="31" y="0"/>
                    </a:lnTo>
                    <a:close/>
                  </a:path>
                </a:pathLst>
              </a:custGeom>
              <a:solidFill>
                <a:srgbClr val="FFFFFF"/>
              </a:solidFill>
              <a:ln w="12700">
                <a:solidFill>
                  <a:schemeClr val="accent1"/>
                </a:solidFill>
                <a:round/>
                <a:headEnd/>
                <a:tailEnd/>
              </a:ln>
            </p:spPr>
            <p:txBody>
              <a:bodyPr wrap="none" anchor="ctr"/>
              <a:lstStyle/>
              <a:p>
                <a:pPr fontAlgn="base">
                  <a:spcBef>
                    <a:spcPct val="0"/>
                  </a:spcBef>
                  <a:spcAft>
                    <a:spcPct val="0"/>
                  </a:spcAft>
                </a:pPr>
                <a:endParaRPr lang="en-US" sz="1400" b="1" dirty="0">
                  <a:solidFill>
                    <a:srgbClr val="000000"/>
                  </a:solidFill>
                </a:endParaRPr>
              </a:p>
            </p:txBody>
          </p:sp>
          <p:sp>
            <p:nvSpPr>
              <p:cNvPr id="25025" name="AutoShape 355"/>
              <p:cNvSpPr>
                <a:spLocks noChangeArrowheads="1"/>
              </p:cNvSpPr>
              <p:nvPr/>
            </p:nvSpPr>
            <p:spPr bwMode="auto">
              <a:xfrm>
                <a:off x="23183" y="12406"/>
                <a:ext cx="183" cy="31"/>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26" name="AutoShape 356"/>
              <p:cNvSpPr>
                <a:spLocks noChangeArrowheads="1"/>
              </p:cNvSpPr>
              <p:nvPr/>
            </p:nvSpPr>
            <p:spPr bwMode="auto">
              <a:xfrm>
                <a:off x="23189" y="12292"/>
                <a:ext cx="169" cy="114"/>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27" name="Arc 357"/>
              <p:cNvSpPr>
                <a:spLocks/>
              </p:cNvSpPr>
              <p:nvPr/>
            </p:nvSpPr>
            <p:spPr bwMode="auto">
              <a:xfrm>
                <a:off x="23160" y="12236"/>
                <a:ext cx="230" cy="64"/>
              </a:xfrm>
              <a:custGeom>
                <a:avLst/>
                <a:gdLst>
                  <a:gd name="T0" fmla="*/ 0 w 43197"/>
                  <a:gd name="T1" fmla="*/ 0 h 21600"/>
                  <a:gd name="T2" fmla="*/ 0 w 43197"/>
                  <a:gd name="T3" fmla="*/ 0 h 21600"/>
                  <a:gd name="T4" fmla="*/ 0 w 43197"/>
                  <a:gd name="T5" fmla="*/ 0 h 21600"/>
                  <a:gd name="T6" fmla="*/ 0 60000 65536"/>
                  <a:gd name="T7" fmla="*/ 0 60000 65536"/>
                  <a:gd name="T8" fmla="*/ 0 60000 65536"/>
                  <a:gd name="T9" fmla="*/ 0 w 43197"/>
                  <a:gd name="T10" fmla="*/ 0 h 21600"/>
                  <a:gd name="T11" fmla="*/ 43197 w 43197"/>
                  <a:gd name="T12" fmla="*/ 21600 h 21600"/>
                </a:gdLst>
                <a:ahLst/>
                <a:cxnLst>
                  <a:cxn ang="T6">
                    <a:pos x="T0" y="T1"/>
                  </a:cxn>
                  <a:cxn ang="T7">
                    <a:pos x="T2" y="T3"/>
                  </a:cxn>
                  <a:cxn ang="T8">
                    <a:pos x="T4" y="T5"/>
                  </a:cxn>
                </a:cxnLst>
                <a:rect l="T9" t="T10" r="T11" b="T12"/>
                <a:pathLst>
                  <a:path w="43197" h="21600" fill="none" extrusionOk="0">
                    <a:moveTo>
                      <a:pt x="0" y="21600"/>
                    </a:moveTo>
                    <a:cubicBezTo>
                      <a:pt x="0" y="9670"/>
                      <a:pt x="9670" y="0"/>
                      <a:pt x="21600" y="0"/>
                    </a:cubicBezTo>
                    <a:cubicBezTo>
                      <a:pt x="33382" y="0"/>
                      <a:pt x="42991" y="9442"/>
                      <a:pt x="43196" y="21223"/>
                    </a:cubicBezTo>
                  </a:path>
                  <a:path w="43197" h="21600" stroke="0" extrusionOk="0">
                    <a:moveTo>
                      <a:pt x="0" y="21600"/>
                    </a:moveTo>
                    <a:cubicBezTo>
                      <a:pt x="0" y="9670"/>
                      <a:pt x="9670" y="0"/>
                      <a:pt x="21600" y="0"/>
                    </a:cubicBezTo>
                    <a:cubicBezTo>
                      <a:pt x="33382" y="0"/>
                      <a:pt x="42991" y="9442"/>
                      <a:pt x="43196" y="21223"/>
                    </a:cubicBezTo>
                    <a:lnTo>
                      <a:pt x="21600" y="21600"/>
                    </a:lnTo>
                    <a:close/>
                  </a:path>
                </a:pathLst>
              </a:custGeom>
              <a:solidFill>
                <a:srgbClr val="FFFFFF"/>
              </a:solidFill>
              <a:ln w="12700">
                <a:solidFill>
                  <a:schemeClr val="accent1"/>
                </a:solidFill>
                <a:round/>
                <a:headEnd/>
                <a:tailEnd/>
              </a:ln>
            </p:spPr>
            <p:txBody>
              <a:bodyPr wrap="none" anchor="ctr"/>
              <a:lstStyle/>
              <a:p>
                <a:pPr fontAlgn="base">
                  <a:spcBef>
                    <a:spcPct val="0"/>
                  </a:spcBef>
                  <a:spcAft>
                    <a:spcPct val="0"/>
                  </a:spcAft>
                </a:pPr>
                <a:endParaRPr lang="en-US" sz="1400" b="1" dirty="0">
                  <a:solidFill>
                    <a:srgbClr val="000000"/>
                  </a:solidFill>
                </a:endParaRPr>
              </a:p>
            </p:txBody>
          </p:sp>
          <p:sp>
            <p:nvSpPr>
              <p:cNvPr id="25028" name="Freeform 358"/>
              <p:cNvSpPr>
                <a:spLocks/>
              </p:cNvSpPr>
              <p:nvPr/>
            </p:nvSpPr>
            <p:spPr bwMode="auto">
              <a:xfrm>
                <a:off x="23151" y="12300"/>
                <a:ext cx="233" cy="1"/>
              </a:xfrm>
              <a:custGeom>
                <a:avLst/>
                <a:gdLst>
                  <a:gd name="T0" fmla="*/ 0 w 233"/>
                  <a:gd name="T1" fmla="*/ 0 h 1"/>
                  <a:gd name="T2" fmla="*/ 232 w 233"/>
                  <a:gd name="T3" fmla="*/ 0 h 1"/>
                  <a:gd name="T4" fmla="*/ 0 60000 65536"/>
                  <a:gd name="T5" fmla="*/ 0 60000 65536"/>
                  <a:gd name="T6" fmla="*/ 0 w 233"/>
                  <a:gd name="T7" fmla="*/ 0 h 1"/>
                  <a:gd name="T8" fmla="*/ 233 w 233"/>
                  <a:gd name="T9" fmla="*/ 1 h 1"/>
                </a:gdLst>
                <a:ahLst/>
                <a:cxnLst>
                  <a:cxn ang="T4">
                    <a:pos x="T0" y="T1"/>
                  </a:cxn>
                  <a:cxn ang="T5">
                    <a:pos x="T2" y="T3"/>
                  </a:cxn>
                </a:cxnLst>
                <a:rect l="T6" t="T7" r="T8" b="T9"/>
                <a:pathLst>
                  <a:path w="233" h="1">
                    <a:moveTo>
                      <a:pt x="0" y="0"/>
                    </a:moveTo>
                    <a:lnTo>
                      <a:pt x="232" y="0"/>
                    </a:lnTo>
                  </a:path>
                </a:pathLst>
              </a:custGeom>
              <a:noFill/>
              <a:ln w="12700">
                <a:solidFill>
                  <a:schemeClr val="accent1"/>
                </a:solidFill>
                <a:round/>
                <a:headEnd type="none" w="med" len="med"/>
                <a:tailEnd type="non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5029" name="AutoShape 359"/>
              <p:cNvSpPr>
                <a:spLocks noChangeArrowheads="1"/>
              </p:cNvSpPr>
              <p:nvPr/>
            </p:nvSpPr>
            <p:spPr bwMode="auto">
              <a:xfrm>
                <a:off x="23293" y="12306"/>
                <a:ext cx="41" cy="81"/>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30" name="AutoShape 360"/>
              <p:cNvSpPr>
                <a:spLocks noChangeArrowheads="1"/>
              </p:cNvSpPr>
              <p:nvPr/>
            </p:nvSpPr>
            <p:spPr bwMode="auto">
              <a:xfrm>
                <a:off x="23248" y="12306"/>
                <a:ext cx="39" cy="81"/>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31" name="AutoShape 361"/>
              <p:cNvSpPr>
                <a:spLocks noChangeArrowheads="1"/>
              </p:cNvSpPr>
              <p:nvPr/>
            </p:nvSpPr>
            <p:spPr bwMode="auto">
              <a:xfrm>
                <a:off x="23198" y="12306"/>
                <a:ext cx="39" cy="81"/>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grpSp>
        <p:grpSp>
          <p:nvGrpSpPr>
            <p:cNvPr id="17" name="Group 362"/>
            <p:cNvGrpSpPr>
              <a:grpSpLocks/>
            </p:cNvGrpSpPr>
            <p:nvPr>
              <p:custDataLst>
                <p:tags r:id="rId53"/>
              </p:custDataLst>
            </p:nvPr>
          </p:nvGrpSpPr>
          <p:grpSpPr bwMode="auto">
            <a:xfrm>
              <a:off x="1989138" y="3186113"/>
              <a:ext cx="614362" cy="660400"/>
              <a:chOff x="6958" y="8267"/>
              <a:chExt cx="1739" cy="1774"/>
            </a:xfrm>
          </p:grpSpPr>
          <p:sp>
            <p:nvSpPr>
              <p:cNvPr id="24986" name="Freeform 363"/>
              <p:cNvSpPr>
                <a:spLocks/>
              </p:cNvSpPr>
              <p:nvPr/>
            </p:nvSpPr>
            <p:spPr bwMode="auto">
              <a:xfrm>
                <a:off x="7412" y="8335"/>
                <a:ext cx="1285" cy="628"/>
              </a:xfrm>
              <a:custGeom>
                <a:avLst/>
                <a:gdLst>
                  <a:gd name="T0" fmla="*/ 160 w 3628"/>
                  <a:gd name="T1" fmla="*/ 10 h 2112"/>
                  <a:gd name="T2" fmla="*/ 160 w 3628"/>
                  <a:gd name="T3" fmla="*/ 9 h 2112"/>
                  <a:gd name="T4" fmla="*/ 161 w 3628"/>
                  <a:gd name="T5" fmla="*/ 8 h 2112"/>
                  <a:gd name="T6" fmla="*/ 161 w 3628"/>
                  <a:gd name="T7" fmla="*/ 7 h 2112"/>
                  <a:gd name="T8" fmla="*/ 161 w 3628"/>
                  <a:gd name="T9" fmla="*/ 5 h 2112"/>
                  <a:gd name="T10" fmla="*/ 159 w 3628"/>
                  <a:gd name="T11" fmla="*/ 4 h 2112"/>
                  <a:gd name="T12" fmla="*/ 157 w 3628"/>
                  <a:gd name="T13" fmla="*/ 2 h 2112"/>
                  <a:gd name="T14" fmla="*/ 152 w 3628"/>
                  <a:gd name="T15" fmla="*/ 1 h 2112"/>
                  <a:gd name="T16" fmla="*/ 145 w 3628"/>
                  <a:gd name="T17" fmla="*/ 0 h 2112"/>
                  <a:gd name="T18" fmla="*/ 144 w 3628"/>
                  <a:gd name="T19" fmla="*/ 0 h 2112"/>
                  <a:gd name="T20" fmla="*/ 142 w 3628"/>
                  <a:gd name="T21" fmla="*/ 0 h 2112"/>
                  <a:gd name="T22" fmla="*/ 137 w 3628"/>
                  <a:gd name="T23" fmla="*/ 0 h 2112"/>
                  <a:gd name="T24" fmla="*/ 131 w 3628"/>
                  <a:gd name="T25" fmla="*/ 1 h 2112"/>
                  <a:gd name="T26" fmla="*/ 122 w 3628"/>
                  <a:gd name="T27" fmla="*/ 2 h 2112"/>
                  <a:gd name="T28" fmla="*/ 112 w 3628"/>
                  <a:gd name="T29" fmla="*/ 4 h 2112"/>
                  <a:gd name="T30" fmla="*/ 98 w 3628"/>
                  <a:gd name="T31" fmla="*/ 8 h 2112"/>
                  <a:gd name="T32" fmla="*/ 83 w 3628"/>
                  <a:gd name="T33" fmla="*/ 12 h 2112"/>
                  <a:gd name="T34" fmla="*/ 36 w 3628"/>
                  <a:gd name="T35" fmla="*/ 11 h 2112"/>
                  <a:gd name="T36" fmla="*/ 24 w 3628"/>
                  <a:gd name="T37" fmla="*/ 22 h 2112"/>
                  <a:gd name="T38" fmla="*/ 18 w 3628"/>
                  <a:gd name="T39" fmla="*/ 26 h 2112"/>
                  <a:gd name="T40" fmla="*/ 2 w 3628"/>
                  <a:gd name="T41" fmla="*/ 40 h 2112"/>
                  <a:gd name="T42" fmla="*/ 7 w 3628"/>
                  <a:gd name="T43" fmla="*/ 51 h 2112"/>
                  <a:gd name="T44" fmla="*/ 2 w 3628"/>
                  <a:gd name="T45" fmla="*/ 40 h 2112"/>
                  <a:gd name="T46" fmla="*/ 0 w 3628"/>
                  <a:gd name="T47" fmla="*/ 55 h 2112"/>
                  <a:gd name="T48" fmla="*/ 4 w 3628"/>
                  <a:gd name="T49" fmla="*/ 54 h 2112"/>
                  <a:gd name="T50" fmla="*/ 11 w 3628"/>
                  <a:gd name="T51" fmla="*/ 51 h 2112"/>
                  <a:gd name="T52" fmla="*/ 19 w 3628"/>
                  <a:gd name="T53" fmla="*/ 48 h 2112"/>
                  <a:gd name="T54" fmla="*/ 30 w 3628"/>
                  <a:gd name="T55" fmla="*/ 44 h 2112"/>
                  <a:gd name="T56" fmla="*/ 41 w 3628"/>
                  <a:gd name="T57" fmla="*/ 40 h 2112"/>
                  <a:gd name="T58" fmla="*/ 52 w 3628"/>
                  <a:gd name="T59" fmla="*/ 36 h 2112"/>
                  <a:gd name="T60" fmla="*/ 64 w 3628"/>
                  <a:gd name="T61" fmla="*/ 32 h 2112"/>
                  <a:gd name="T62" fmla="*/ 69 w 3628"/>
                  <a:gd name="T63" fmla="*/ 31 h 2112"/>
                  <a:gd name="T64" fmla="*/ 74 w 3628"/>
                  <a:gd name="T65" fmla="*/ 29 h 2112"/>
                  <a:gd name="T66" fmla="*/ 83 w 3628"/>
                  <a:gd name="T67" fmla="*/ 27 h 2112"/>
                  <a:gd name="T68" fmla="*/ 95 w 3628"/>
                  <a:gd name="T69" fmla="*/ 25 h 2112"/>
                  <a:gd name="T70" fmla="*/ 108 w 3628"/>
                  <a:gd name="T71" fmla="*/ 22 h 2112"/>
                  <a:gd name="T72" fmla="*/ 121 w 3628"/>
                  <a:gd name="T73" fmla="*/ 21 h 2112"/>
                  <a:gd name="T74" fmla="*/ 134 w 3628"/>
                  <a:gd name="T75" fmla="*/ 20 h 2112"/>
                  <a:gd name="T76" fmla="*/ 145 w 3628"/>
                  <a:gd name="T77" fmla="*/ 21 h 21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28"/>
                  <a:gd name="T118" fmla="*/ 0 h 2112"/>
                  <a:gd name="T119" fmla="*/ 3628 w 3628"/>
                  <a:gd name="T120" fmla="*/ 2112 h 21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28" h="2112">
                    <a:moveTo>
                      <a:pt x="3368" y="844"/>
                    </a:moveTo>
                    <a:lnTo>
                      <a:pt x="3607" y="364"/>
                    </a:lnTo>
                    <a:lnTo>
                      <a:pt x="3610" y="361"/>
                    </a:lnTo>
                    <a:lnTo>
                      <a:pt x="3613" y="352"/>
                    </a:lnTo>
                    <a:lnTo>
                      <a:pt x="3616" y="336"/>
                    </a:lnTo>
                    <a:lnTo>
                      <a:pt x="3622" y="315"/>
                    </a:lnTo>
                    <a:lnTo>
                      <a:pt x="3625" y="293"/>
                    </a:lnTo>
                    <a:lnTo>
                      <a:pt x="3628" y="266"/>
                    </a:lnTo>
                    <a:lnTo>
                      <a:pt x="3625" y="238"/>
                    </a:lnTo>
                    <a:lnTo>
                      <a:pt x="3619" y="208"/>
                    </a:lnTo>
                    <a:lnTo>
                      <a:pt x="3607" y="174"/>
                    </a:lnTo>
                    <a:lnTo>
                      <a:pt x="3588" y="143"/>
                    </a:lnTo>
                    <a:lnTo>
                      <a:pt x="3561" y="116"/>
                    </a:lnTo>
                    <a:lnTo>
                      <a:pt x="3524" y="85"/>
                    </a:lnTo>
                    <a:lnTo>
                      <a:pt x="3478" y="61"/>
                    </a:lnTo>
                    <a:lnTo>
                      <a:pt x="3420" y="36"/>
                    </a:lnTo>
                    <a:lnTo>
                      <a:pt x="3349" y="18"/>
                    </a:lnTo>
                    <a:lnTo>
                      <a:pt x="3264" y="6"/>
                    </a:lnTo>
                    <a:lnTo>
                      <a:pt x="3258" y="6"/>
                    </a:lnTo>
                    <a:lnTo>
                      <a:pt x="3245" y="3"/>
                    </a:lnTo>
                    <a:lnTo>
                      <a:pt x="3221" y="3"/>
                    </a:lnTo>
                    <a:lnTo>
                      <a:pt x="3187" y="0"/>
                    </a:lnTo>
                    <a:lnTo>
                      <a:pt x="3144" y="3"/>
                    </a:lnTo>
                    <a:lnTo>
                      <a:pt x="3089" y="6"/>
                    </a:lnTo>
                    <a:lnTo>
                      <a:pt x="3022" y="15"/>
                    </a:lnTo>
                    <a:lnTo>
                      <a:pt x="2945" y="30"/>
                    </a:lnTo>
                    <a:lnTo>
                      <a:pt x="2853" y="52"/>
                    </a:lnTo>
                    <a:lnTo>
                      <a:pt x="2752" y="79"/>
                    </a:lnTo>
                    <a:lnTo>
                      <a:pt x="2639" y="116"/>
                    </a:lnTo>
                    <a:lnTo>
                      <a:pt x="2514" y="162"/>
                    </a:lnTo>
                    <a:lnTo>
                      <a:pt x="2373" y="220"/>
                    </a:lnTo>
                    <a:lnTo>
                      <a:pt x="2220" y="290"/>
                    </a:lnTo>
                    <a:lnTo>
                      <a:pt x="2054" y="373"/>
                    </a:lnTo>
                    <a:lnTo>
                      <a:pt x="1874" y="468"/>
                    </a:lnTo>
                    <a:lnTo>
                      <a:pt x="1874" y="410"/>
                    </a:lnTo>
                    <a:lnTo>
                      <a:pt x="817" y="410"/>
                    </a:lnTo>
                    <a:lnTo>
                      <a:pt x="539" y="658"/>
                    </a:lnTo>
                    <a:lnTo>
                      <a:pt x="539" y="835"/>
                    </a:lnTo>
                    <a:lnTo>
                      <a:pt x="539" y="970"/>
                    </a:lnTo>
                    <a:lnTo>
                      <a:pt x="404" y="970"/>
                    </a:lnTo>
                    <a:lnTo>
                      <a:pt x="110" y="1218"/>
                    </a:lnTo>
                    <a:lnTo>
                      <a:pt x="43" y="1521"/>
                    </a:lnTo>
                    <a:lnTo>
                      <a:pt x="370" y="1521"/>
                    </a:lnTo>
                    <a:lnTo>
                      <a:pt x="168" y="1946"/>
                    </a:lnTo>
                    <a:lnTo>
                      <a:pt x="177" y="1533"/>
                    </a:lnTo>
                    <a:lnTo>
                      <a:pt x="43" y="1521"/>
                    </a:lnTo>
                    <a:lnTo>
                      <a:pt x="0" y="2112"/>
                    </a:lnTo>
                    <a:lnTo>
                      <a:pt x="12" y="2105"/>
                    </a:lnTo>
                    <a:lnTo>
                      <a:pt x="43" y="2084"/>
                    </a:lnTo>
                    <a:lnTo>
                      <a:pt x="92" y="2050"/>
                    </a:lnTo>
                    <a:lnTo>
                      <a:pt x="156" y="2004"/>
                    </a:lnTo>
                    <a:lnTo>
                      <a:pt x="236" y="1949"/>
                    </a:lnTo>
                    <a:lnTo>
                      <a:pt x="331" y="1888"/>
                    </a:lnTo>
                    <a:lnTo>
                      <a:pt x="435" y="1821"/>
                    </a:lnTo>
                    <a:lnTo>
                      <a:pt x="548" y="1747"/>
                    </a:lnTo>
                    <a:lnTo>
                      <a:pt x="667" y="1671"/>
                    </a:lnTo>
                    <a:lnTo>
                      <a:pt x="793" y="1594"/>
                    </a:lnTo>
                    <a:lnTo>
                      <a:pt x="921" y="1515"/>
                    </a:lnTo>
                    <a:lnTo>
                      <a:pt x="1050" y="1438"/>
                    </a:lnTo>
                    <a:lnTo>
                      <a:pt x="1182" y="1362"/>
                    </a:lnTo>
                    <a:lnTo>
                      <a:pt x="1307" y="1294"/>
                    </a:lnTo>
                    <a:lnTo>
                      <a:pt x="1433" y="1230"/>
                    </a:lnTo>
                    <a:lnTo>
                      <a:pt x="1549" y="1172"/>
                    </a:lnTo>
                    <a:lnTo>
                      <a:pt x="1564" y="1166"/>
                    </a:lnTo>
                    <a:lnTo>
                      <a:pt x="1607" y="1144"/>
                    </a:lnTo>
                    <a:lnTo>
                      <a:pt x="1675" y="1114"/>
                    </a:lnTo>
                    <a:lnTo>
                      <a:pt x="1763" y="1077"/>
                    </a:lnTo>
                    <a:lnTo>
                      <a:pt x="1871" y="1034"/>
                    </a:lnTo>
                    <a:lnTo>
                      <a:pt x="1993" y="988"/>
                    </a:lnTo>
                    <a:lnTo>
                      <a:pt x="2128" y="939"/>
                    </a:lnTo>
                    <a:lnTo>
                      <a:pt x="2272" y="893"/>
                    </a:lnTo>
                    <a:lnTo>
                      <a:pt x="2419" y="850"/>
                    </a:lnTo>
                    <a:lnTo>
                      <a:pt x="2572" y="811"/>
                    </a:lnTo>
                    <a:lnTo>
                      <a:pt x="2725" y="783"/>
                    </a:lnTo>
                    <a:lnTo>
                      <a:pt x="2872" y="765"/>
                    </a:lnTo>
                    <a:lnTo>
                      <a:pt x="3013" y="759"/>
                    </a:lnTo>
                    <a:lnTo>
                      <a:pt x="3144" y="771"/>
                    </a:lnTo>
                    <a:lnTo>
                      <a:pt x="3264" y="798"/>
                    </a:lnTo>
                    <a:lnTo>
                      <a:pt x="3368" y="844"/>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7" name="Freeform 364"/>
              <p:cNvSpPr>
                <a:spLocks/>
              </p:cNvSpPr>
              <p:nvPr/>
            </p:nvSpPr>
            <p:spPr bwMode="auto">
              <a:xfrm>
                <a:off x="7299" y="8817"/>
                <a:ext cx="125" cy="139"/>
              </a:xfrm>
              <a:custGeom>
                <a:avLst/>
                <a:gdLst>
                  <a:gd name="T0" fmla="*/ 16 w 350"/>
                  <a:gd name="T1" fmla="*/ 0 h 468"/>
                  <a:gd name="T2" fmla="*/ 6 w 350"/>
                  <a:gd name="T3" fmla="*/ 0 h 468"/>
                  <a:gd name="T4" fmla="*/ 0 w 350"/>
                  <a:gd name="T5" fmla="*/ 3 h 468"/>
                  <a:gd name="T6" fmla="*/ 0 w 350"/>
                  <a:gd name="T7" fmla="*/ 6 h 468"/>
                  <a:gd name="T8" fmla="*/ 2 w 350"/>
                  <a:gd name="T9" fmla="*/ 6 h 468"/>
                  <a:gd name="T10" fmla="*/ 2 w 350"/>
                  <a:gd name="T11" fmla="*/ 12 h 468"/>
                  <a:gd name="T12" fmla="*/ 5 w 350"/>
                  <a:gd name="T13" fmla="*/ 12 h 468"/>
                  <a:gd name="T14" fmla="*/ 5 w 350"/>
                  <a:gd name="T15" fmla="*/ 7 h 468"/>
                  <a:gd name="T16" fmla="*/ 6 w 350"/>
                  <a:gd name="T17" fmla="*/ 5 h 468"/>
                  <a:gd name="T18" fmla="*/ 16 w 350"/>
                  <a:gd name="T19" fmla="*/ 5 h 468"/>
                  <a:gd name="T20" fmla="*/ 16 w 350"/>
                  <a:gd name="T21" fmla="*/ 0 h 4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0"/>
                  <a:gd name="T34" fmla="*/ 0 h 468"/>
                  <a:gd name="T35" fmla="*/ 350 w 350"/>
                  <a:gd name="T36" fmla="*/ 468 h 4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0" h="468">
                    <a:moveTo>
                      <a:pt x="350" y="0"/>
                    </a:moveTo>
                    <a:lnTo>
                      <a:pt x="135" y="0"/>
                    </a:lnTo>
                    <a:lnTo>
                      <a:pt x="0" y="113"/>
                    </a:lnTo>
                    <a:lnTo>
                      <a:pt x="0" y="223"/>
                    </a:lnTo>
                    <a:lnTo>
                      <a:pt x="46" y="223"/>
                    </a:lnTo>
                    <a:lnTo>
                      <a:pt x="46" y="468"/>
                    </a:lnTo>
                    <a:lnTo>
                      <a:pt x="102" y="468"/>
                    </a:lnTo>
                    <a:lnTo>
                      <a:pt x="102" y="248"/>
                    </a:lnTo>
                    <a:lnTo>
                      <a:pt x="135" y="190"/>
                    </a:lnTo>
                    <a:lnTo>
                      <a:pt x="350" y="190"/>
                    </a:lnTo>
                    <a:lnTo>
                      <a:pt x="350" y="0"/>
                    </a:lnTo>
                    <a:close/>
                  </a:path>
                </a:pathLst>
              </a:custGeom>
              <a:solidFill>
                <a:srgbClr val="DDE8E8"/>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8" name="Freeform 365"/>
              <p:cNvSpPr>
                <a:spLocks/>
              </p:cNvSpPr>
              <p:nvPr/>
            </p:nvSpPr>
            <p:spPr bwMode="auto">
              <a:xfrm>
                <a:off x="7316" y="8956"/>
                <a:ext cx="96" cy="74"/>
              </a:xfrm>
              <a:custGeom>
                <a:avLst/>
                <a:gdLst>
                  <a:gd name="T0" fmla="*/ 12 w 270"/>
                  <a:gd name="T1" fmla="*/ 1 h 248"/>
                  <a:gd name="T2" fmla="*/ 0 w 270"/>
                  <a:gd name="T3" fmla="*/ 0 h 248"/>
                  <a:gd name="T4" fmla="*/ 0 w 270"/>
                  <a:gd name="T5" fmla="*/ 7 h 248"/>
                  <a:gd name="T6" fmla="*/ 12 w 270"/>
                  <a:gd name="T7" fmla="*/ 1 h 248"/>
                  <a:gd name="T8" fmla="*/ 0 60000 65536"/>
                  <a:gd name="T9" fmla="*/ 0 60000 65536"/>
                  <a:gd name="T10" fmla="*/ 0 60000 65536"/>
                  <a:gd name="T11" fmla="*/ 0 60000 65536"/>
                  <a:gd name="T12" fmla="*/ 0 w 270"/>
                  <a:gd name="T13" fmla="*/ 0 h 248"/>
                  <a:gd name="T14" fmla="*/ 270 w 270"/>
                  <a:gd name="T15" fmla="*/ 248 h 248"/>
                </a:gdLst>
                <a:ahLst/>
                <a:cxnLst>
                  <a:cxn ang="T8">
                    <a:pos x="T0" y="T1"/>
                  </a:cxn>
                  <a:cxn ang="T9">
                    <a:pos x="T2" y="T3"/>
                  </a:cxn>
                  <a:cxn ang="T10">
                    <a:pos x="T4" y="T5"/>
                  </a:cxn>
                  <a:cxn ang="T11">
                    <a:pos x="T6" y="T7"/>
                  </a:cxn>
                </a:cxnLst>
                <a:rect l="T12" t="T13" r="T14" b="T15"/>
                <a:pathLst>
                  <a:path w="270" h="248">
                    <a:moveTo>
                      <a:pt x="270" y="22"/>
                    </a:moveTo>
                    <a:lnTo>
                      <a:pt x="0" y="0"/>
                    </a:lnTo>
                    <a:lnTo>
                      <a:pt x="0" y="248"/>
                    </a:lnTo>
                    <a:lnTo>
                      <a:pt x="270" y="22"/>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9" name="Freeform 366"/>
              <p:cNvSpPr>
                <a:spLocks/>
              </p:cNvSpPr>
              <p:nvPr/>
            </p:nvSpPr>
            <p:spPr bwMode="auto">
              <a:xfrm>
                <a:off x="6994" y="9037"/>
                <a:ext cx="254" cy="260"/>
              </a:xfrm>
              <a:custGeom>
                <a:avLst/>
                <a:gdLst>
                  <a:gd name="T0" fmla="*/ 32 w 717"/>
                  <a:gd name="T1" fmla="*/ 4 h 876"/>
                  <a:gd name="T2" fmla="*/ 32 w 717"/>
                  <a:gd name="T3" fmla="*/ 0 h 876"/>
                  <a:gd name="T4" fmla="*/ 20 w 717"/>
                  <a:gd name="T5" fmla="*/ 0 h 876"/>
                  <a:gd name="T6" fmla="*/ 11 w 717"/>
                  <a:gd name="T7" fmla="*/ 4 h 876"/>
                  <a:gd name="T8" fmla="*/ 11 w 717"/>
                  <a:gd name="T9" fmla="*/ 7 h 876"/>
                  <a:gd name="T10" fmla="*/ 10 w 717"/>
                  <a:gd name="T11" fmla="*/ 7 h 876"/>
                  <a:gd name="T12" fmla="*/ 0 w 717"/>
                  <a:gd name="T13" fmla="*/ 15 h 876"/>
                  <a:gd name="T14" fmla="*/ 0 w 717"/>
                  <a:gd name="T15" fmla="*/ 23 h 876"/>
                  <a:gd name="T16" fmla="*/ 32 w 717"/>
                  <a:gd name="T17" fmla="*/ 4 h 8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7"/>
                  <a:gd name="T28" fmla="*/ 0 h 876"/>
                  <a:gd name="T29" fmla="*/ 717 w 717"/>
                  <a:gd name="T30" fmla="*/ 876 h 8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7" h="876">
                    <a:moveTo>
                      <a:pt x="717" y="135"/>
                    </a:moveTo>
                    <a:lnTo>
                      <a:pt x="717" y="0"/>
                    </a:lnTo>
                    <a:lnTo>
                      <a:pt x="447" y="0"/>
                    </a:lnTo>
                    <a:lnTo>
                      <a:pt x="257" y="147"/>
                    </a:lnTo>
                    <a:lnTo>
                      <a:pt x="257" y="258"/>
                    </a:lnTo>
                    <a:lnTo>
                      <a:pt x="211" y="258"/>
                    </a:lnTo>
                    <a:lnTo>
                      <a:pt x="0" y="573"/>
                    </a:lnTo>
                    <a:lnTo>
                      <a:pt x="0" y="876"/>
                    </a:lnTo>
                    <a:lnTo>
                      <a:pt x="717" y="135"/>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0" name="Freeform 367"/>
              <p:cNvSpPr>
                <a:spLocks/>
              </p:cNvSpPr>
              <p:nvPr/>
            </p:nvSpPr>
            <p:spPr bwMode="auto">
              <a:xfrm>
                <a:off x="7813" y="8267"/>
                <a:ext cx="28" cy="194"/>
              </a:xfrm>
              <a:custGeom>
                <a:avLst/>
                <a:gdLst>
                  <a:gd name="T0" fmla="*/ 0 w 79"/>
                  <a:gd name="T1" fmla="*/ 17 h 652"/>
                  <a:gd name="T2" fmla="*/ 0 w 79"/>
                  <a:gd name="T3" fmla="*/ 0 h 652"/>
                  <a:gd name="T4" fmla="*/ 4 w 79"/>
                  <a:gd name="T5" fmla="*/ 0 h 652"/>
                  <a:gd name="T6" fmla="*/ 4 w 79"/>
                  <a:gd name="T7" fmla="*/ 17 h 652"/>
                  <a:gd name="T8" fmla="*/ 0 w 79"/>
                  <a:gd name="T9" fmla="*/ 17 h 652"/>
                  <a:gd name="T10" fmla="*/ 0 60000 65536"/>
                  <a:gd name="T11" fmla="*/ 0 60000 65536"/>
                  <a:gd name="T12" fmla="*/ 0 60000 65536"/>
                  <a:gd name="T13" fmla="*/ 0 60000 65536"/>
                  <a:gd name="T14" fmla="*/ 0 60000 65536"/>
                  <a:gd name="T15" fmla="*/ 0 w 79"/>
                  <a:gd name="T16" fmla="*/ 0 h 652"/>
                  <a:gd name="T17" fmla="*/ 79 w 79"/>
                  <a:gd name="T18" fmla="*/ 652 h 652"/>
                </a:gdLst>
                <a:ahLst/>
                <a:cxnLst>
                  <a:cxn ang="T10">
                    <a:pos x="T0" y="T1"/>
                  </a:cxn>
                  <a:cxn ang="T11">
                    <a:pos x="T2" y="T3"/>
                  </a:cxn>
                  <a:cxn ang="T12">
                    <a:pos x="T4" y="T5"/>
                  </a:cxn>
                  <a:cxn ang="T13">
                    <a:pos x="T6" y="T7"/>
                  </a:cxn>
                  <a:cxn ang="T14">
                    <a:pos x="T8" y="T9"/>
                  </a:cxn>
                </a:cxnLst>
                <a:rect l="T15" t="T16" r="T17" b="T18"/>
                <a:pathLst>
                  <a:path w="79" h="652">
                    <a:moveTo>
                      <a:pt x="0" y="652"/>
                    </a:moveTo>
                    <a:lnTo>
                      <a:pt x="0" y="0"/>
                    </a:lnTo>
                    <a:lnTo>
                      <a:pt x="79" y="0"/>
                    </a:lnTo>
                    <a:lnTo>
                      <a:pt x="79" y="640"/>
                    </a:lnTo>
                    <a:lnTo>
                      <a:pt x="0" y="652"/>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1" name="Freeform 368"/>
              <p:cNvSpPr>
                <a:spLocks/>
              </p:cNvSpPr>
              <p:nvPr/>
            </p:nvSpPr>
            <p:spPr bwMode="auto">
              <a:xfrm>
                <a:off x="7670" y="8271"/>
                <a:ext cx="310" cy="23"/>
              </a:xfrm>
              <a:custGeom>
                <a:avLst/>
                <a:gdLst>
                  <a:gd name="T0" fmla="*/ 39 w 875"/>
                  <a:gd name="T1" fmla="*/ 1 h 77"/>
                  <a:gd name="T2" fmla="*/ 0 w 875"/>
                  <a:gd name="T3" fmla="*/ 0 h 77"/>
                  <a:gd name="T4" fmla="*/ 0 w 875"/>
                  <a:gd name="T5" fmla="*/ 1 h 77"/>
                  <a:gd name="T6" fmla="*/ 38 w 875"/>
                  <a:gd name="T7" fmla="*/ 2 h 77"/>
                  <a:gd name="T8" fmla="*/ 39 w 875"/>
                  <a:gd name="T9" fmla="*/ 1 h 77"/>
                  <a:gd name="T10" fmla="*/ 0 60000 65536"/>
                  <a:gd name="T11" fmla="*/ 0 60000 65536"/>
                  <a:gd name="T12" fmla="*/ 0 60000 65536"/>
                  <a:gd name="T13" fmla="*/ 0 60000 65536"/>
                  <a:gd name="T14" fmla="*/ 0 60000 65536"/>
                  <a:gd name="T15" fmla="*/ 0 w 875"/>
                  <a:gd name="T16" fmla="*/ 0 h 77"/>
                  <a:gd name="T17" fmla="*/ 875 w 875"/>
                  <a:gd name="T18" fmla="*/ 77 h 77"/>
                </a:gdLst>
                <a:ahLst/>
                <a:cxnLst>
                  <a:cxn ang="T10">
                    <a:pos x="T0" y="T1"/>
                  </a:cxn>
                  <a:cxn ang="T11">
                    <a:pos x="T2" y="T3"/>
                  </a:cxn>
                  <a:cxn ang="T12">
                    <a:pos x="T4" y="T5"/>
                  </a:cxn>
                  <a:cxn ang="T13">
                    <a:pos x="T6" y="T7"/>
                  </a:cxn>
                  <a:cxn ang="T14">
                    <a:pos x="T8" y="T9"/>
                  </a:cxn>
                </a:cxnLst>
                <a:rect l="T15" t="T16" r="T17" b="T18"/>
                <a:pathLst>
                  <a:path w="875" h="77">
                    <a:moveTo>
                      <a:pt x="875" y="43"/>
                    </a:moveTo>
                    <a:lnTo>
                      <a:pt x="0" y="0"/>
                    </a:lnTo>
                    <a:lnTo>
                      <a:pt x="0" y="55"/>
                    </a:lnTo>
                    <a:lnTo>
                      <a:pt x="863" y="77"/>
                    </a:lnTo>
                    <a:lnTo>
                      <a:pt x="875" y="43"/>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2" name="Freeform 369"/>
              <p:cNvSpPr>
                <a:spLocks/>
              </p:cNvSpPr>
              <p:nvPr/>
            </p:nvSpPr>
            <p:spPr bwMode="auto">
              <a:xfrm>
                <a:off x="7670" y="8281"/>
                <a:ext cx="151" cy="106"/>
              </a:xfrm>
              <a:custGeom>
                <a:avLst/>
                <a:gdLst>
                  <a:gd name="T0" fmla="*/ 0 w 425"/>
                  <a:gd name="T1" fmla="*/ 1 h 358"/>
                  <a:gd name="T2" fmla="*/ 0 w 425"/>
                  <a:gd name="T3" fmla="*/ 4 h 358"/>
                  <a:gd name="T4" fmla="*/ 19 w 425"/>
                  <a:gd name="T5" fmla="*/ 9 h 358"/>
                  <a:gd name="T6" fmla="*/ 19 w 425"/>
                  <a:gd name="T7" fmla="*/ 7 h 358"/>
                  <a:gd name="T8" fmla="*/ 2 w 425"/>
                  <a:gd name="T9" fmla="*/ 4 h 358"/>
                  <a:gd name="T10" fmla="*/ 2 w 425"/>
                  <a:gd name="T11" fmla="*/ 0 h 358"/>
                  <a:gd name="T12" fmla="*/ 0 w 425"/>
                  <a:gd name="T13" fmla="*/ 1 h 358"/>
                  <a:gd name="T14" fmla="*/ 0 60000 65536"/>
                  <a:gd name="T15" fmla="*/ 0 60000 65536"/>
                  <a:gd name="T16" fmla="*/ 0 60000 65536"/>
                  <a:gd name="T17" fmla="*/ 0 60000 65536"/>
                  <a:gd name="T18" fmla="*/ 0 60000 65536"/>
                  <a:gd name="T19" fmla="*/ 0 60000 65536"/>
                  <a:gd name="T20" fmla="*/ 0 60000 65536"/>
                  <a:gd name="T21" fmla="*/ 0 w 425"/>
                  <a:gd name="T22" fmla="*/ 0 h 358"/>
                  <a:gd name="T23" fmla="*/ 425 w 425"/>
                  <a:gd name="T24" fmla="*/ 358 h 3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5" h="358">
                    <a:moveTo>
                      <a:pt x="0" y="21"/>
                    </a:moveTo>
                    <a:lnTo>
                      <a:pt x="0" y="168"/>
                    </a:lnTo>
                    <a:lnTo>
                      <a:pt x="425" y="358"/>
                    </a:lnTo>
                    <a:lnTo>
                      <a:pt x="425" y="278"/>
                    </a:lnTo>
                    <a:lnTo>
                      <a:pt x="45" y="135"/>
                    </a:lnTo>
                    <a:lnTo>
                      <a:pt x="45" y="0"/>
                    </a:lnTo>
                    <a:lnTo>
                      <a:pt x="0" y="21"/>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3" name="Freeform 370"/>
              <p:cNvSpPr>
                <a:spLocks/>
              </p:cNvSpPr>
              <p:nvPr/>
            </p:nvSpPr>
            <p:spPr bwMode="auto">
              <a:xfrm>
                <a:off x="7832" y="8284"/>
                <a:ext cx="148" cy="99"/>
              </a:xfrm>
              <a:custGeom>
                <a:avLst/>
                <a:gdLst>
                  <a:gd name="T0" fmla="*/ 19 w 416"/>
                  <a:gd name="T1" fmla="*/ 0 h 337"/>
                  <a:gd name="T2" fmla="*/ 19 w 416"/>
                  <a:gd name="T3" fmla="*/ 5 h 337"/>
                  <a:gd name="T4" fmla="*/ 0 w 416"/>
                  <a:gd name="T5" fmla="*/ 9 h 337"/>
                  <a:gd name="T6" fmla="*/ 0 w 416"/>
                  <a:gd name="T7" fmla="*/ 7 h 337"/>
                  <a:gd name="T8" fmla="*/ 16 w 416"/>
                  <a:gd name="T9" fmla="*/ 4 h 337"/>
                  <a:gd name="T10" fmla="*/ 16 w 416"/>
                  <a:gd name="T11" fmla="*/ 0 h 337"/>
                  <a:gd name="T12" fmla="*/ 19 w 416"/>
                  <a:gd name="T13" fmla="*/ 0 h 337"/>
                  <a:gd name="T14" fmla="*/ 0 60000 65536"/>
                  <a:gd name="T15" fmla="*/ 0 60000 65536"/>
                  <a:gd name="T16" fmla="*/ 0 60000 65536"/>
                  <a:gd name="T17" fmla="*/ 0 60000 65536"/>
                  <a:gd name="T18" fmla="*/ 0 60000 65536"/>
                  <a:gd name="T19" fmla="*/ 0 60000 65536"/>
                  <a:gd name="T20" fmla="*/ 0 60000 65536"/>
                  <a:gd name="T21" fmla="*/ 0 w 416"/>
                  <a:gd name="T22" fmla="*/ 0 h 337"/>
                  <a:gd name="T23" fmla="*/ 416 w 416"/>
                  <a:gd name="T24" fmla="*/ 337 h 3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6" h="337">
                    <a:moveTo>
                      <a:pt x="416" y="0"/>
                    </a:moveTo>
                    <a:lnTo>
                      <a:pt x="416" y="202"/>
                    </a:lnTo>
                    <a:lnTo>
                      <a:pt x="0" y="337"/>
                    </a:lnTo>
                    <a:lnTo>
                      <a:pt x="0" y="269"/>
                    </a:lnTo>
                    <a:lnTo>
                      <a:pt x="361" y="147"/>
                    </a:lnTo>
                    <a:lnTo>
                      <a:pt x="361" y="0"/>
                    </a:lnTo>
                    <a:lnTo>
                      <a:pt x="416" y="0"/>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4" name="Freeform 371"/>
              <p:cNvSpPr>
                <a:spLocks/>
              </p:cNvSpPr>
              <p:nvPr/>
            </p:nvSpPr>
            <p:spPr bwMode="auto">
              <a:xfrm>
                <a:off x="7701" y="8331"/>
                <a:ext cx="243" cy="13"/>
              </a:xfrm>
              <a:custGeom>
                <a:avLst/>
                <a:gdLst>
                  <a:gd name="T0" fmla="*/ 30 w 686"/>
                  <a:gd name="T1" fmla="*/ 0 h 43"/>
                  <a:gd name="T2" fmla="*/ 0 w 686"/>
                  <a:gd name="T3" fmla="*/ 0 h 43"/>
                  <a:gd name="T4" fmla="*/ 4 w 686"/>
                  <a:gd name="T5" fmla="*/ 1 h 43"/>
                  <a:gd name="T6" fmla="*/ 28 w 686"/>
                  <a:gd name="T7" fmla="*/ 1 h 43"/>
                  <a:gd name="T8" fmla="*/ 30 w 686"/>
                  <a:gd name="T9" fmla="*/ 0 h 43"/>
                  <a:gd name="T10" fmla="*/ 0 60000 65536"/>
                  <a:gd name="T11" fmla="*/ 0 60000 65536"/>
                  <a:gd name="T12" fmla="*/ 0 60000 65536"/>
                  <a:gd name="T13" fmla="*/ 0 60000 65536"/>
                  <a:gd name="T14" fmla="*/ 0 60000 65536"/>
                  <a:gd name="T15" fmla="*/ 0 w 686"/>
                  <a:gd name="T16" fmla="*/ 0 h 43"/>
                  <a:gd name="T17" fmla="*/ 686 w 686"/>
                  <a:gd name="T18" fmla="*/ 43 h 43"/>
                </a:gdLst>
                <a:ahLst/>
                <a:cxnLst>
                  <a:cxn ang="T10">
                    <a:pos x="T0" y="T1"/>
                  </a:cxn>
                  <a:cxn ang="T11">
                    <a:pos x="T2" y="T3"/>
                  </a:cxn>
                  <a:cxn ang="T12">
                    <a:pos x="T4" y="T5"/>
                  </a:cxn>
                  <a:cxn ang="T13">
                    <a:pos x="T6" y="T7"/>
                  </a:cxn>
                  <a:cxn ang="T14">
                    <a:pos x="T8" y="T9"/>
                  </a:cxn>
                </a:cxnLst>
                <a:rect l="T15" t="T16" r="T17" b="T18"/>
                <a:pathLst>
                  <a:path w="686" h="43">
                    <a:moveTo>
                      <a:pt x="686" y="0"/>
                    </a:moveTo>
                    <a:lnTo>
                      <a:pt x="0" y="0"/>
                    </a:lnTo>
                    <a:lnTo>
                      <a:pt x="80" y="43"/>
                    </a:lnTo>
                    <a:lnTo>
                      <a:pt x="619" y="43"/>
                    </a:lnTo>
                    <a:lnTo>
                      <a:pt x="686" y="0"/>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5" name="Freeform 372"/>
              <p:cNvSpPr>
                <a:spLocks/>
              </p:cNvSpPr>
              <p:nvPr/>
            </p:nvSpPr>
            <p:spPr bwMode="auto">
              <a:xfrm>
                <a:off x="7674" y="8297"/>
                <a:ext cx="294" cy="16"/>
              </a:xfrm>
              <a:custGeom>
                <a:avLst/>
                <a:gdLst>
                  <a:gd name="T0" fmla="*/ 0 w 830"/>
                  <a:gd name="T1" fmla="*/ 0 h 55"/>
                  <a:gd name="T2" fmla="*/ 37 w 830"/>
                  <a:gd name="T3" fmla="*/ 0 h 55"/>
                  <a:gd name="T4" fmla="*/ 37 w 830"/>
                  <a:gd name="T5" fmla="*/ 1 h 55"/>
                  <a:gd name="T6" fmla="*/ 0 w 830"/>
                  <a:gd name="T7" fmla="*/ 1 h 55"/>
                  <a:gd name="T8" fmla="*/ 0 w 830"/>
                  <a:gd name="T9" fmla="*/ 0 h 55"/>
                  <a:gd name="T10" fmla="*/ 0 60000 65536"/>
                  <a:gd name="T11" fmla="*/ 0 60000 65536"/>
                  <a:gd name="T12" fmla="*/ 0 60000 65536"/>
                  <a:gd name="T13" fmla="*/ 0 60000 65536"/>
                  <a:gd name="T14" fmla="*/ 0 60000 65536"/>
                  <a:gd name="T15" fmla="*/ 0 w 830"/>
                  <a:gd name="T16" fmla="*/ 0 h 55"/>
                  <a:gd name="T17" fmla="*/ 830 w 830"/>
                  <a:gd name="T18" fmla="*/ 55 h 55"/>
                </a:gdLst>
                <a:ahLst/>
                <a:cxnLst>
                  <a:cxn ang="T10">
                    <a:pos x="T0" y="T1"/>
                  </a:cxn>
                  <a:cxn ang="T11">
                    <a:pos x="T2" y="T3"/>
                  </a:cxn>
                  <a:cxn ang="T12">
                    <a:pos x="T4" y="T5"/>
                  </a:cxn>
                  <a:cxn ang="T13">
                    <a:pos x="T6" y="T7"/>
                  </a:cxn>
                  <a:cxn ang="T14">
                    <a:pos x="T8" y="T9"/>
                  </a:cxn>
                </a:cxnLst>
                <a:rect l="T15" t="T16" r="T17" b="T18"/>
                <a:pathLst>
                  <a:path w="830" h="55">
                    <a:moveTo>
                      <a:pt x="9" y="0"/>
                    </a:moveTo>
                    <a:lnTo>
                      <a:pt x="830" y="0"/>
                    </a:lnTo>
                    <a:lnTo>
                      <a:pt x="830" y="55"/>
                    </a:lnTo>
                    <a:lnTo>
                      <a:pt x="0" y="55"/>
                    </a:lnTo>
                    <a:lnTo>
                      <a:pt x="9" y="0"/>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6" name="Freeform 373"/>
              <p:cNvSpPr>
                <a:spLocks/>
              </p:cNvSpPr>
              <p:nvPr/>
            </p:nvSpPr>
            <p:spPr bwMode="auto">
              <a:xfrm>
                <a:off x="7603" y="8457"/>
                <a:ext cx="98" cy="127"/>
              </a:xfrm>
              <a:custGeom>
                <a:avLst/>
                <a:gdLst>
                  <a:gd name="T0" fmla="*/ 12 w 278"/>
                  <a:gd name="T1" fmla="*/ 0 h 425"/>
                  <a:gd name="T2" fmla="*/ 12 w 278"/>
                  <a:gd name="T3" fmla="*/ 6 h 425"/>
                  <a:gd name="T4" fmla="*/ 8 w 278"/>
                  <a:gd name="T5" fmla="*/ 6 h 425"/>
                  <a:gd name="T6" fmla="*/ 8 w 278"/>
                  <a:gd name="T7" fmla="*/ 7 h 425"/>
                  <a:gd name="T8" fmla="*/ 0 w 278"/>
                  <a:gd name="T9" fmla="*/ 11 h 425"/>
                  <a:gd name="T10" fmla="*/ 0 w 278"/>
                  <a:gd name="T11" fmla="*/ 7 h 425"/>
                  <a:gd name="T12" fmla="*/ 12 w 278"/>
                  <a:gd name="T13" fmla="*/ 0 h 425"/>
                  <a:gd name="T14" fmla="*/ 0 60000 65536"/>
                  <a:gd name="T15" fmla="*/ 0 60000 65536"/>
                  <a:gd name="T16" fmla="*/ 0 60000 65536"/>
                  <a:gd name="T17" fmla="*/ 0 60000 65536"/>
                  <a:gd name="T18" fmla="*/ 0 60000 65536"/>
                  <a:gd name="T19" fmla="*/ 0 60000 65536"/>
                  <a:gd name="T20" fmla="*/ 0 60000 65536"/>
                  <a:gd name="T21" fmla="*/ 0 w 278"/>
                  <a:gd name="T22" fmla="*/ 0 h 425"/>
                  <a:gd name="T23" fmla="*/ 278 w 278"/>
                  <a:gd name="T24" fmla="*/ 425 h 4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8" h="425">
                    <a:moveTo>
                      <a:pt x="278" y="0"/>
                    </a:moveTo>
                    <a:lnTo>
                      <a:pt x="278" y="223"/>
                    </a:lnTo>
                    <a:lnTo>
                      <a:pt x="190" y="223"/>
                    </a:lnTo>
                    <a:lnTo>
                      <a:pt x="190" y="284"/>
                    </a:lnTo>
                    <a:lnTo>
                      <a:pt x="0" y="425"/>
                    </a:lnTo>
                    <a:lnTo>
                      <a:pt x="0" y="248"/>
                    </a:lnTo>
                    <a:lnTo>
                      <a:pt x="278" y="0"/>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7" name="Freeform 374"/>
              <p:cNvSpPr>
                <a:spLocks/>
              </p:cNvSpPr>
              <p:nvPr/>
            </p:nvSpPr>
            <p:spPr bwMode="auto">
              <a:xfrm>
                <a:off x="7600" y="8563"/>
                <a:ext cx="272" cy="54"/>
              </a:xfrm>
              <a:custGeom>
                <a:avLst/>
                <a:gdLst>
                  <a:gd name="T0" fmla="*/ 34 w 765"/>
                  <a:gd name="T1" fmla="*/ 0 h 180"/>
                  <a:gd name="T2" fmla="*/ 9 w 765"/>
                  <a:gd name="T3" fmla="*/ 0 h 180"/>
                  <a:gd name="T4" fmla="*/ 0 w 765"/>
                  <a:gd name="T5" fmla="*/ 4 h 180"/>
                  <a:gd name="T6" fmla="*/ 0 w 765"/>
                  <a:gd name="T7" fmla="*/ 5 h 180"/>
                  <a:gd name="T8" fmla="*/ 9 w 765"/>
                  <a:gd name="T9" fmla="*/ 2 h 180"/>
                  <a:gd name="T10" fmla="*/ 32 w 765"/>
                  <a:gd name="T11" fmla="*/ 2 h 180"/>
                  <a:gd name="T12" fmla="*/ 34 w 765"/>
                  <a:gd name="T13" fmla="*/ 0 h 180"/>
                  <a:gd name="T14" fmla="*/ 0 60000 65536"/>
                  <a:gd name="T15" fmla="*/ 0 60000 65536"/>
                  <a:gd name="T16" fmla="*/ 0 60000 65536"/>
                  <a:gd name="T17" fmla="*/ 0 60000 65536"/>
                  <a:gd name="T18" fmla="*/ 0 60000 65536"/>
                  <a:gd name="T19" fmla="*/ 0 60000 65536"/>
                  <a:gd name="T20" fmla="*/ 0 60000 65536"/>
                  <a:gd name="T21" fmla="*/ 0 w 765"/>
                  <a:gd name="T22" fmla="*/ 0 h 180"/>
                  <a:gd name="T23" fmla="*/ 765 w 765"/>
                  <a:gd name="T24" fmla="*/ 180 h 1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65" h="180">
                    <a:moveTo>
                      <a:pt x="765" y="0"/>
                    </a:moveTo>
                    <a:lnTo>
                      <a:pt x="196" y="0"/>
                    </a:lnTo>
                    <a:lnTo>
                      <a:pt x="0" y="144"/>
                    </a:lnTo>
                    <a:lnTo>
                      <a:pt x="0" y="180"/>
                    </a:lnTo>
                    <a:lnTo>
                      <a:pt x="189" y="67"/>
                    </a:lnTo>
                    <a:lnTo>
                      <a:pt x="719" y="67"/>
                    </a:lnTo>
                    <a:lnTo>
                      <a:pt x="765" y="0"/>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8" name="Freeform 375"/>
              <p:cNvSpPr>
                <a:spLocks/>
              </p:cNvSpPr>
              <p:nvPr/>
            </p:nvSpPr>
            <p:spPr bwMode="auto">
              <a:xfrm>
                <a:off x="7412" y="8623"/>
                <a:ext cx="143" cy="340"/>
              </a:xfrm>
              <a:custGeom>
                <a:avLst/>
                <a:gdLst>
                  <a:gd name="T0" fmla="*/ 18 w 404"/>
                  <a:gd name="T1" fmla="*/ 0 h 1142"/>
                  <a:gd name="T2" fmla="*/ 18 w 404"/>
                  <a:gd name="T3" fmla="*/ 7 h 1142"/>
                  <a:gd name="T4" fmla="*/ 8 w 404"/>
                  <a:gd name="T5" fmla="*/ 12 h 1142"/>
                  <a:gd name="T6" fmla="*/ 8 w 404"/>
                  <a:gd name="T7" fmla="*/ 15 h 1142"/>
                  <a:gd name="T8" fmla="*/ 8 w 404"/>
                  <a:gd name="T9" fmla="*/ 27 h 1142"/>
                  <a:gd name="T10" fmla="*/ 0 w 404"/>
                  <a:gd name="T11" fmla="*/ 30 h 1142"/>
                  <a:gd name="T12" fmla="*/ 2 w 404"/>
                  <a:gd name="T13" fmla="*/ 15 h 1142"/>
                  <a:gd name="T14" fmla="*/ 5 w 404"/>
                  <a:gd name="T15" fmla="*/ 7 h 1142"/>
                  <a:gd name="T16" fmla="*/ 18 w 404"/>
                  <a:gd name="T17" fmla="*/ 0 h 1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4"/>
                  <a:gd name="T28" fmla="*/ 0 h 1142"/>
                  <a:gd name="T29" fmla="*/ 404 w 404"/>
                  <a:gd name="T30" fmla="*/ 1142 h 1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4" h="1142">
                    <a:moveTo>
                      <a:pt x="404" y="0"/>
                    </a:moveTo>
                    <a:lnTo>
                      <a:pt x="404" y="278"/>
                    </a:lnTo>
                    <a:lnTo>
                      <a:pt x="184" y="465"/>
                    </a:lnTo>
                    <a:lnTo>
                      <a:pt x="177" y="563"/>
                    </a:lnTo>
                    <a:lnTo>
                      <a:pt x="177" y="1010"/>
                    </a:lnTo>
                    <a:lnTo>
                      <a:pt x="0" y="1142"/>
                    </a:lnTo>
                    <a:lnTo>
                      <a:pt x="43" y="551"/>
                    </a:lnTo>
                    <a:lnTo>
                      <a:pt x="110" y="248"/>
                    </a:lnTo>
                    <a:lnTo>
                      <a:pt x="404" y="0"/>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99" name="Freeform 376"/>
              <p:cNvSpPr>
                <a:spLocks/>
              </p:cNvSpPr>
              <p:nvPr/>
            </p:nvSpPr>
            <p:spPr bwMode="auto">
              <a:xfrm>
                <a:off x="7299" y="8817"/>
                <a:ext cx="48" cy="215"/>
              </a:xfrm>
              <a:custGeom>
                <a:avLst/>
                <a:gdLst>
                  <a:gd name="T0" fmla="*/ 6 w 135"/>
                  <a:gd name="T1" fmla="*/ 0 h 719"/>
                  <a:gd name="T2" fmla="*/ 6 w 135"/>
                  <a:gd name="T3" fmla="*/ 5 h 719"/>
                  <a:gd name="T4" fmla="*/ 5 w 135"/>
                  <a:gd name="T5" fmla="*/ 7 h 719"/>
                  <a:gd name="T6" fmla="*/ 5 w 135"/>
                  <a:gd name="T7" fmla="*/ 18 h 719"/>
                  <a:gd name="T8" fmla="*/ 2 w 135"/>
                  <a:gd name="T9" fmla="*/ 19 h 719"/>
                  <a:gd name="T10" fmla="*/ 2 w 135"/>
                  <a:gd name="T11" fmla="*/ 6 h 719"/>
                  <a:gd name="T12" fmla="*/ 0 w 135"/>
                  <a:gd name="T13" fmla="*/ 6 h 719"/>
                  <a:gd name="T14" fmla="*/ 0 w 135"/>
                  <a:gd name="T15" fmla="*/ 3 h 719"/>
                  <a:gd name="T16" fmla="*/ 6 w 135"/>
                  <a:gd name="T17" fmla="*/ 0 h 7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5"/>
                  <a:gd name="T28" fmla="*/ 0 h 719"/>
                  <a:gd name="T29" fmla="*/ 135 w 135"/>
                  <a:gd name="T30" fmla="*/ 719 h 7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5" h="719">
                    <a:moveTo>
                      <a:pt x="135" y="0"/>
                    </a:moveTo>
                    <a:lnTo>
                      <a:pt x="135" y="190"/>
                    </a:lnTo>
                    <a:lnTo>
                      <a:pt x="102" y="248"/>
                    </a:lnTo>
                    <a:lnTo>
                      <a:pt x="102" y="670"/>
                    </a:lnTo>
                    <a:lnTo>
                      <a:pt x="49" y="719"/>
                    </a:lnTo>
                    <a:lnTo>
                      <a:pt x="49" y="223"/>
                    </a:lnTo>
                    <a:lnTo>
                      <a:pt x="0" y="223"/>
                    </a:lnTo>
                    <a:lnTo>
                      <a:pt x="0" y="113"/>
                    </a:lnTo>
                    <a:lnTo>
                      <a:pt x="135" y="0"/>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0" name="Freeform 377"/>
              <p:cNvSpPr>
                <a:spLocks/>
              </p:cNvSpPr>
              <p:nvPr/>
            </p:nvSpPr>
            <p:spPr bwMode="auto">
              <a:xfrm>
                <a:off x="7085" y="9037"/>
                <a:ext cx="109" cy="82"/>
              </a:xfrm>
              <a:custGeom>
                <a:avLst/>
                <a:gdLst>
                  <a:gd name="T0" fmla="*/ 8 w 309"/>
                  <a:gd name="T1" fmla="*/ 0 h 276"/>
                  <a:gd name="T2" fmla="*/ 8 w 309"/>
                  <a:gd name="T3" fmla="*/ 7 h 276"/>
                  <a:gd name="T4" fmla="*/ 13 w 309"/>
                  <a:gd name="T5" fmla="*/ 7 h 276"/>
                  <a:gd name="T6" fmla="*/ 13 w 309"/>
                  <a:gd name="T7" fmla="*/ 7 h 276"/>
                  <a:gd name="T8" fmla="*/ 0 w 309"/>
                  <a:gd name="T9" fmla="*/ 7 h 276"/>
                  <a:gd name="T10" fmla="*/ 0 w 309"/>
                  <a:gd name="T11" fmla="*/ 4 h 276"/>
                  <a:gd name="T12" fmla="*/ 8 w 309"/>
                  <a:gd name="T13" fmla="*/ 0 h 276"/>
                  <a:gd name="T14" fmla="*/ 0 60000 65536"/>
                  <a:gd name="T15" fmla="*/ 0 60000 65536"/>
                  <a:gd name="T16" fmla="*/ 0 60000 65536"/>
                  <a:gd name="T17" fmla="*/ 0 60000 65536"/>
                  <a:gd name="T18" fmla="*/ 0 60000 65536"/>
                  <a:gd name="T19" fmla="*/ 0 60000 65536"/>
                  <a:gd name="T20" fmla="*/ 0 60000 65536"/>
                  <a:gd name="T21" fmla="*/ 0 w 309"/>
                  <a:gd name="T22" fmla="*/ 0 h 276"/>
                  <a:gd name="T23" fmla="*/ 309 w 309"/>
                  <a:gd name="T24" fmla="*/ 276 h 2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9" h="276">
                    <a:moveTo>
                      <a:pt x="190" y="0"/>
                    </a:moveTo>
                    <a:lnTo>
                      <a:pt x="190" y="255"/>
                    </a:lnTo>
                    <a:lnTo>
                      <a:pt x="309" y="255"/>
                    </a:lnTo>
                    <a:lnTo>
                      <a:pt x="297" y="276"/>
                    </a:lnTo>
                    <a:lnTo>
                      <a:pt x="0" y="276"/>
                    </a:lnTo>
                    <a:lnTo>
                      <a:pt x="0" y="147"/>
                    </a:lnTo>
                    <a:lnTo>
                      <a:pt x="190" y="0"/>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1" name="Freeform 378"/>
              <p:cNvSpPr>
                <a:spLocks/>
              </p:cNvSpPr>
              <p:nvPr/>
            </p:nvSpPr>
            <p:spPr bwMode="auto">
              <a:xfrm>
                <a:off x="6994" y="9114"/>
                <a:ext cx="74" cy="183"/>
              </a:xfrm>
              <a:custGeom>
                <a:avLst/>
                <a:gdLst>
                  <a:gd name="T0" fmla="*/ 9 w 211"/>
                  <a:gd name="T1" fmla="*/ 0 h 618"/>
                  <a:gd name="T2" fmla="*/ 9 w 211"/>
                  <a:gd name="T3" fmla="*/ 11 h 618"/>
                  <a:gd name="T4" fmla="*/ 0 w 211"/>
                  <a:gd name="T5" fmla="*/ 16 h 618"/>
                  <a:gd name="T6" fmla="*/ 0 w 211"/>
                  <a:gd name="T7" fmla="*/ 8 h 618"/>
                  <a:gd name="T8" fmla="*/ 9 w 211"/>
                  <a:gd name="T9" fmla="*/ 0 h 618"/>
                  <a:gd name="T10" fmla="*/ 0 60000 65536"/>
                  <a:gd name="T11" fmla="*/ 0 60000 65536"/>
                  <a:gd name="T12" fmla="*/ 0 60000 65536"/>
                  <a:gd name="T13" fmla="*/ 0 60000 65536"/>
                  <a:gd name="T14" fmla="*/ 0 60000 65536"/>
                  <a:gd name="T15" fmla="*/ 0 w 211"/>
                  <a:gd name="T16" fmla="*/ 0 h 618"/>
                  <a:gd name="T17" fmla="*/ 211 w 211"/>
                  <a:gd name="T18" fmla="*/ 618 h 618"/>
                </a:gdLst>
                <a:ahLst/>
                <a:cxnLst>
                  <a:cxn ang="T10">
                    <a:pos x="T0" y="T1"/>
                  </a:cxn>
                  <a:cxn ang="T11">
                    <a:pos x="T2" y="T3"/>
                  </a:cxn>
                  <a:cxn ang="T12">
                    <a:pos x="T4" y="T5"/>
                  </a:cxn>
                  <a:cxn ang="T13">
                    <a:pos x="T6" y="T7"/>
                  </a:cxn>
                  <a:cxn ang="T14">
                    <a:pos x="T8" y="T9"/>
                  </a:cxn>
                </a:cxnLst>
                <a:rect l="T15" t="T16" r="T17" b="T18"/>
                <a:pathLst>
                  <a:path w="211" h="618">
                    <a:moveTo>
                      <a:pt x="211" y="0"/>
                    </a:moveTo>
                    <a:lnTo>
                      <a:pt x="211" y="416"/>
                    </a:lnTo>
                    <a:lnTo>
                      <a:pt x="0" y="618"/>
                    </a:lnTo>
                    <a:lnTo>
                      <a:pt x="0" y="315"/>
                    </a:lnTo>
                    <a:lnTo>
                      <a:pt x="211" y="0"/>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2" name="Freeform 379"/>
              <p:cNvSpPr>
                <a:spLocks/>
              </p:cNvSpPr>
              <p:nvPr/>
            </p:nvSpPr>
            <p:spPr bwMode="auto">
              <a:xfrm>
                <a:off x="7471" y="8337"/>
                <a:ext cx="1031" cy="587"/>
              </a:xfrm>
              <a:custGeom>
                <a:avLst/>
                <a:gdLst>
                  <a:gd name="T0" fmla="*/ 0 w 2909"/>
                  <a:gd name="T1" fmla="*/ 51 h 1974"/>
                  <a:gd name="T2" fmla="*/ 9 w 2909"/>
                  <a:gd name="T3" fmla="*/ 40 h 1974"/>
                  <a:gd name="T4" fmla="*/ 12 w 2909"/>
                  <a:gd name="T5" fmla="*/ 38 h 1974"/>
                  <a:gd name="T6" fmla="*/ 16 w 2909"/>
                  <a:gd name="T7" fmla="*/ 35 h 1974"/>
                  <a:gd name="T8" fmla="*/ 23 w 2909"/>
                  <a:gd name="T9" fmla="*/ 32 h 1974"/>
                  <a:gd name="T10" fmla="*/ 31 w 2909"/>
                  <a:gd name="T11" fmla="*/ 28 h 1974"/>
                  <a:gd name="T12" fmla="*/ 42 w 2909"/>
                  <a:gd name="T13" fmla="*/ 23 h 1974"/>
                  <a:gd name="T14" fmla="*/ 54 w 2909"/>
                  <a:gd name="T15" fmla="*/ 18 h 1974"/>
                  <a:gd name="T16" fmla="*/ 68 w 2909"/>
                  <a:gd name="T17" fmla="*/ 14 h 1974"/>
                  <a:gd name="T18" fmla="*/ 76 w 2909"/>
                  <a:gd name="T19" fmla="*/ 12 h 1974"/>
                  <a:gd name="T20" fmla="*/ 79 w 2909"/>
                  <a:gd name="T21" fmla="*/ 11 h 1974"/>
                  <a:gd name="T22" fmla="*/ 84 w 2909"/>
                  <a:gd name="T23" fmla="*/ 10 h 1974"/>
                  <a:gd name="T24" fmla="*/ 91 w 2909"/>
                  <a:gd name="T25" fmla="*/ 7 h 1974"/>
                  <a:gd name="T26" fmla="*/ 99 w 2909"/>
                  <a:gd name="T27" fmla="*/ 5 h 1974"/>
                  <a:gd name="T28" fmla="*/ 108 w 2909"/>
                  <a:gd name="T29" fmla="*/ 3 h 1974"/>
                  <a:gd name="T30" fmla="*/ 117 w 2909"/>
                  <a:gd name="T31" fmla="*/ 1 h 1974"/>
                  <a:gd name="T32" fmla="*/ 125 w 2909"/>
                  <a:gd name="T33" fmla="*/ 0 h 1974"/>
                  <a:gd name="T34" fmla="*/ 117 w 2909"/>
                  <a:gd name="T35" fmla="*/ 20 h 1974"/>
                  <a:gd name="T36" fmla="*/ 116 w 2909"/>
                  <a:gd name="T37" fmla="*/ 20 h 1974"/>
                  <a:gd name="T38" fmla="*/ 114 w 2909"/>
                  <a:gd name="T39" fmla="*/ 20 h 1974"/>
                  <a:gd name="T40" fmla="*/ 111 w 2909"/>
                  <a:gd name="T41" fmla="*/ 21 h 1974"/>
                  <a:gd name="T42" fmla="*/ 107 w 2909"/>
                  <a:gd name="T43" fmla="*/ 21 h 1974"/>
                  <a:gd name="T44" fmla="*/ 102 w 2909"/>
                  <a:gd name="T45" fmla="*/ 22 h 1974"/>
                  <a:gd name="T46" fmla="*/ 96 w 2909"/>
                  <a:gd name="T47" fmla="*/ 23 h 1974"/>
                  <a:gd name="T48" fmla="*/ 90 w 2909"/>
                  <a:gd name="T49" fmla="*/ 24 h 1974"/>
                  <a:gd name="T50" fmla="*/ 82 w 2909"/>
                  <a:gd name="T51" fmla="*/ 26 h 1974"/>
                  <a:gd name="T52" fmla="*/ 74 w 2909"/>
                  <a:gd name="T53" fmla="*/ 28 h 1974"/>
                  <a:gd name="T54" fmla="*/ 65 w 2909"/>
                  <a:gd name="T55" fmla="*/ 30 h 1974"/>
                  <a:gd name="T56" fmla="*/ 55 w 2909"/>
                  <a:gd name="T57" fmla="*/ 33 h 1974"/>
                  <a:gd name="T58" fmla="*/ 45 w 2909"/>
                  <a:gd name="T59" fmla="*/ 36 h 1974"/>
                  <a:gd name="T60" fmla="*/ 34 w 2909"/>
                  <a:gd name="T61" fmla="*/ 39 h 1974"/>
                  <a:gd name="T62" fmla="*/ 23 w 2909"/>
                  <a:gd name="T63" fmla="*/ 43 h 1974"/>
                  <a:gd name="T64" fmla="*/ 12 w 2909"/>
                  <a:gd name="T65" fmla="*/ 47 h 1974"/>
                  <a:gd name="T66" fmla="*/ 0 w 2909"/>
                  <a:gd name="T67" fmla="*/ 52 h 19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09"/>
                  <a:gd name="T103" fmla="*/ 0 h 1974"/>
                  <a:gd name="T104" fmla="*/ 2909 w 2909"/>
                  <a:gd name="T105" fmla="*/ 1974 h 19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09" h="1974">
                    <a:moveTo>
                      <a:pt x="9" y="1974"/>
                    </a:moveTo>
                    <a:lnTo>
                      <a:pt x="0" y="1922"/>
                    </a:lnTo>
                    <a:lnTo>
                      <a:pt x="202" y="1515"/>
                    </a:lnTo>
                    <a:lnTo>
                      <a:pt x="208" y="1509"/>
                    </a:lnTo>
                    <a:lnTo>
                      <a:pt x="227" y="1487"/>
                    </a:lnTo>
                    <a:lnTo>
                      <a:pt x="260" y="1451"/>
                    </a:lnTo>
                    <a:lnTo>
                      <a:pt x="303" y="1408"/>
                    </a:lnTo>
                    <a:lnTo>
                      <a:pt x="358" y="1350"/>
                    </a:lnTo>
                    <a:lnTo>
                      <a:pt x="429" y="1285"/>
                    </a:lnTo>
                    <a:lnTo>
                      <a:pt x="508" y="1215"/>
                    </a:lnTo>
                    <a:lnTo>
                      <a:pt x="597" y="1138"/>
                    </a:lnTo>
                    <a:lnTo>
                      <a:pt x="701" y="1056"/>
                    </a:lnTo>
                    <a:lnTo>
                      <a:pt x="812" y="970"/>
                    </a:lnTo>
                    <a:lnTo>
                      <a:pt x="937" y="881"/>
                    </a:lnTo>
                    <a:lnTo>
                      <a:pt x="1072" y="796"/>
                    </a:lnTo>
                    <a:lnTo>
                      <a:pt x="1216" y="707"/>
                    </a:lnTo>
                    <a:lnTo>
                      <a:pt x="1369" y="621"/>
                    </a:lnTo>
                    <a:lnTo>
                      <a:pt x="1531" y="538"/>
                    </a:lnTo>
                    <a:lnTo>
                      <a:pt x="1706" y="462"/>
                    </a:lnTo>
                    <a:lnTo>
                      <a:pt x="1715" y="456"/>
                    </a:lnTo>
                    <a:lnTo>
                      <a:pt x="1739" y="444"/>
                    </a:lnTo>
                    <a:lnTo>
                      <a:pt x="1776" y="422"/>
                    </a:lnTo>
                    <a:lnTo>
                      <a:pt x="1828" y="395"/>
                    </a:lnTo>
                    <a:lnTo>
                      <a:pt x="1889" y="361"/>
                    </a:lnTo>
                    <a:lnTo>
                      <a:pt x="1963" y="324"/>
                    </a:lnTo>
                    <a:lnTo>
                      <a:pt x="2042" y="284"/>
                    </a:lnTo>
                    <a:lnTo>
                      <a:pt x="2131" y="245"/>
                    </a:lnTo>
                    <a:lnTo>
                      <a:pt x="2223" y="202"/>
                    </a:lnTo>
                    <a:lnTo>
                      <a:pt x="2321" y="162"/>
                    </a:lnTo>
                    <a:lnTo>
                      <a:pt x="2422" y="122"/>
                    </a:lnTo>
                    <a:lnTo>
                      <a:pt x="2523" y="88"/>
                    </a:lnTo>
                    <a:lnTo>
                      <a:pt x="2624" y="55"/>
                    </a:lnTo>
                    <a:lnTo>
                      <a:pt x="2722" y="30"/>
                    </a:lnTo>
                    <a:lnTo>
                      <a:pt x="2817" y="12"/>
                    </a:lnTo>
                    <a:lnTo>
                      <a:pt x="2909" y="0"/>
                    </a:lnTo>
                    <a:lnTo>
                      <a:pt x="2624" y="756"/>
                    </a:lnTo>
                    <a:lnTo>
                      <a:pt x="2621" y="756"/>
                    </a:lnTo>
                    <a:lnTo>
                      <a:pt x="2609" y="759"/>
                    </a:lnTo>
                    <a:lnTo>
                      <a:pt x="2594" y="762"/>
                    </a:lnTo>
                    <a:lnTo>
                      <a:pt x="2569" y="768"/>
                    </a:lnTo>
                    <a:lnTo>
                      <a:pt x="2538" y="774"/>
                    </a:lnTo>
                    <a:lnTo>
                      <a:pt x="2502" y="780"/>
                    </a:lnTo>
                    <a:lnTo>
                      <a:pt x="2459" y="792"/>
                    </a:lnTo>
                    <a:lnTo>
                      <a:pt x="2413" y="805"/>
                    </a:lnTo>
                    <a:lnTo>
                      <a:pt x="2358" y="817"/>
                    </a:lnTo>
                    <a:lnTo>
                      <a:pt x="2300" y="835"/>
                    </a:lnTo>
                    <a:lnTo>
                      <a:pt x="2235" y="854"/>
                    </a:lnTo>
                    <a:lnTo>
                      <a:pt x="2165" y="875"/>
                    </a:lnTo>
                    <a:lnTo>
                      <a:pt x="2091" y="900"/>
                    </a:lnTo>
                    <a:lnTo>
                      <a:pt x="2012" y="924"/>
                    </a:lnTo>
                    <a:lnTo>
                      <a:pt x="1929" y="955"/>
                    </a:lnTo>
                    <a:lnTo>
                      <a:pt x="1840" y="985"/>
                    </a:lnTo>
                    <a:lnTo>
                      <a:pt x="1749" y="1022"/>
                    </a:lnTo>
                    <a:lnTo>
                      <a:pt x="1654" y="1059"/>
                    </a:lnTo>
                    <a:lnTo>
                      <a:pt x="1553" y="1102"/>
                    </a:lnTo>
                    <a:lnTo>
                      <a:pt x="1452" y="1144"/>
                    </a:lnTo>
                    <a:lnTo>
                      <a:pt x="1344" y="1193"/>
                    </a:lnTo>
                    <a:lnTo>
                      <a:pt x="1234" y="1242"/>
                    </a:lnTo>
                    <a:lnTo>
                      <a:pt x="1121" y="1297"/>
                    </a:lnTo>
                    <a:lnTo>
                      <a:pt x="1008" y="1359"/>
                    </a:lnTo>
                    <a:lnTo>
                      <a:pt x="888" y="1420"/>
                    </a:lnTo>
                    <a:lnTo>
                      <a:pt x="769" y="1487"/>
                    </a:lnTo>
                    <a:lnTo>
                      <a:pt x="646" y="1558"/>
                    </a:lnTo>
                    <a:lnTo>
                      <a:pt x="524" y="1631"/>
                    </a:lnTo>
                    <a:lnTo>
                      <a:pt x="395" y="1711"/>
                    </a:lnTo>
                    <a:lnTo>
                      <a:pt x="270" y="1793"/>
                    </a:lnTo>
                    <a:lnTo>
                      <a:pt x="141" y="1882"/>
                    </a:lnTo>
                    <a:lnTo>
                      <a:pt x="9" y="1974"/>
                    </a:lnTo>
                    <a:close/>
                  </a:path>
                </a:pathLst>
              </a:custGeom>
              <a:solidFill>
                <a:srgbClr val="96999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3" name="Freeform 380"/>
              <p:cNvSpPr>
                <a:spLocks/>
              </p:cNvSpPr>
              <p:nvPr/>
            </p:nvSpPr>
            <p:spPr bwMode="auto">
              <a:xfrm>
                <a:off x="6958" y="8561"/>
                <a:ext cx="1647" cy="983"/>
              </a:xfrm>
              <a:custGeom>
                <a:avLst/>
                <a:gdLst>
                  <a:gd name="T0" fmla="*/ 207 w 4648"/>
                  <a:gd name="T1" fmla="*/ 3 h 3305"/>
                  <a:gd name="T2" fmla="*/ 204 w 4648"/>
                  <a:gd name="T3" fmla="*/ 6 h 3305"/>
                  <a:gd name="T4" fmla="*/ 201 w 4648"/>
                  <a:gd name="T5" fmla="*/ 11 h 3305"/>
                  <a:gd name="T6" fmla="*/ 197 w 4648"/>
                  <a:gd name="T7" fmla="*/ 18 h 3305"/>
                  <a:gd name="T8" fmla="*/ 192 w 4648"/>
                  <a:gd name="T9" fmla="*/ 27 h 3305"/>
                  <a:gd name="T10" fmla="*/ 187 w 4648"/>
                  <a:gd name="T11" fmla="*/ 37 h 3305"/>
                  <a:gd name="T12" fmla="*/ 183 w 4648"/>
                  <a:gd name="T13" fmla="*/ 47 h 3305"/>
                  <a:gd name="T14" fmla="*/ 180 w 4648"/>
                  <a:gd name="T15" fmla="*/ 57 h 3305"/>
                  <a:gd name="T16" fmla="*/ 174 w 4648"/>
                  <a:gd name="T17" fmla="*/ 87 h 3305"/>
                  <a:gd name="T18" fmla="*/ 172 w 4648"/>
                  <a:gd name="T19" fmla="*/ 87 h 3305"/>
                  <a:gd name="T20" fmla="*/ 168 w 4648"/>
                  <a:gd name="T21" fmla="*/ 87 h 3305"/>
                  <a:gd name="T22" fmla="*/ 162 w 4648"/>
                  <a:gd name="T23" fmla="*/ 87 h 3305"/>
                  <a:gd name="T24" fmla="*/ 154 w 4648"/>
                  <a:gd name="T25" fmla="*/ 87 h 3305"/>
                  <a:gd name="T26" fmla="*/ 144 w 4648"/>
                  <a:gd name="T27" fmla="*/ 86 h 3305"/>
                  <a:gd name="T28" fmla="*/ 133 w 4648"/>
                  <a:gd name="T29" fmla="*/ 86 h 3305"/>
                  <a:gd name="T30" fmla="*/ 120 w 4648"/>
                  <a:gd name="T31" fmla="*/ 85 h 3305"/>
                  <a:gd name="T32" fmla="*/ 107 w 4648"/>
                  <a:gd name="T33" fmla="*/ 85 h 3305"/>
                  <a:gd name="T34" fmla="*/ 94 w 4648"/>
                  <a:gd name="T35" fmla="*/ 84 h 3305"/>
                  <a:gd name="T36" fmla="*/ 80 w 4648"/>
                  <a:gd name="T37" fmla="*/ 84 h 3305"/>
                  <a:gd name="T38" fmla="*/ 67 w 4648"/>
                  <a:gd name="T39" fmla="*/ 83 h 3305"/>
                  <a:gd name="T40" fmla="*/ 55 w 4648"/>
                  <a:gd name="T41" fmla="*/ 83 h 3305"/>
                  <a:gd name="T42" fmla="*/ 43 w 4648"/>
                  <a:gd name="T43" fmla="*/ 82 h 3305"/>
                  <a:gd name="T44" fmla="*/ 32 w 4648"/>
                  <a:gd name="T45" fmla="*/ 81 h 3305"/>
                  <a:gd name="T46" fmla="*/ 23 w 4648"/>
                  <a:gd name="T47" fmla="*/ 80 h 3305"/>
                  <a:gd name="T48" fmla="*/ 16 w 4648"/>
                  <a:gd name="T49" fmla="*/ 80 h 3305"/>
                  <a:gd name="T50" fmla="*/ 0 w 4648"/>
                  <a:gd name="T51" fmla="*/ 68 h 3305"/>
                  <a:gd name="T52" fmla="*/ 1 w 4648"/>
                  <a:gd name="T53" fmla="*/ 67 h 3305"/>
                  <a:gd name="T54" fmla="*/ 5 w 4648"/>
                  <a:gd name="T55" fmla="*/ 64 h 3305"/>
                  <a:gd name="T56" fmla="*/ 11 w 4648"/>
                  <a:gd name="T57" fmla="*/ 60 h 3305"/>
                  <a:gd name="T58" fmla="*/ 19 w 4648"/>
                  <a:gd name="T59" fmla="*/ 56 h 3305"/>
                  <a:gd name="T60" fmla="*/ 29 w 4648"/>
                  <a:gd name="T61" fmla="*/ 50 h 3305"/>
                  <a:gd name="T62" fmla="*/ 40 w 4648"/>
                  <a:gd name="T63" fmla="*/ 44 h 3305"/>
                  <a:gd name="T64" fmla="*/ 52 w 4648"/>
                  <a:gd name="T65" fmla="*/ 38 h 3305"/>
                  <a:gd name="T66" fmla="*/ 65 w 4648"/>
                  <a:gd name="T67" fmla="*/ 32 h 3305"/>
                  <a:gd name="T68" fmla="*/ 66 w 4648"/>
                  <a:gd name="T69" fmla="*/ 32 h 3305"/>
                  <a:gd name="T70" fmla="*/ 68 w 4648"/>
                  <a:gd name="T71" fmla="*/ 31 h 3305"/>
                  <a:gd name="T72" fmla="*/ 71 w 4648"/>
                  <a:gd name="T73" fmla="*/ 29 h 3305"/>
                  <a:gd name="T74" fmla="*/ 76 w 4648"/>
                  <a:gd name="T75" fmla="*/ 28 h 3305"/>
                  <a:gd name="T76" fmla="*/ 81 w 4648"/>
                  <a:gd name="T77" fmla="*/ 26 h 3305"/>
                  <a:gd name="T78" fmla="*/ 88 w 4648"/>
                  <a:gd name="T79" fmla="*/ 23 h 3305"/>
                  <a:gd name="T80" fmla="*/ 96 w 4648"/>
                  <a:gd name="T81" fmla="*/ 20 h 3305"/>
                  <a:gd name="T82" fmla="*/ 104 w 4648"/>
                  <a:gd name="T83" fmla="*/ 18 h 3305"/>
                  <a:gd name="T84" fmla="*/ 113 w 4648"/>
                  <a:gd name="T85" fmla="*/ 15 h 3305"/>
                  <a:gd name="T86" fmla="*/ 122 w 4648"/>
                  <a:gd name="T87" fmla="*/ 12 h 3305"/>
                  <a:gd name="T88" fmla="*/ 132 w 4648"/>
                  <a:gd name="T89" fmla="*/ 9 h 3305"/>
                  <a:gd name="T90" fmla="*/ 141 w 4648"/>
                  <a:gd name="T91" fmla="*/ 7 h 3305"/>
                  <a:gd name="T92" fmla="*/ 152 w 4648"/>
                  <a:gd name="T93" fmla="*/ 4 h 3305"/>
                  <a:gd name="T94" fmla="*/ 162 w 4648"/>
                  <a:gd name="T95" fmla="*/ 3 h 3305"/>
                  <a:gd name="T96" fmla="*/ 172 w 4648"/>
                  <a:gd name="T97" fmla="*/ 1 h 3305"/>
                  <a:gd name="T98" fmla="*/ 181 w 4648"/>
                  <a:gd name="T99" fmla="*/ 0 h 3305"/>
                  <a:gd name="T100" fmla="*/ 182 w 4648"/>
                  <a:gd name="T101" fmla="*/ 0 h 3305"/>
                  <a:gd name="T102" fmla="*/ 185 w 4648"/>
                  <a:gd name="T103" fmla="*/ 0 h 3305"/>
                  <a:gd name="T104" fmla="*/ 188 w 4648"/>
                  <a:gd name="T105" fmla="*/ 0 h 3305"/>
                  <a:gd name="T106" fmla="*/ 192 w 4648"/>
                  <a:gd name="T107" fmla="*/ 0 h 3305"/>
                  <a:gd name="T108" fmla="*/ 196 w 4648"/>
                  <a:gd name="T109" fmla="*/ 0 h 3305"/>
                  <a:gd name="T110" fmla="*/ 201 w 4648"/>
                  <a:gd name="T111" fmla="*/ 1 h 3305"/>
                  <a:gd name="T112" fmla="*/ 204 w 4648"/>
                  <a:gd name="T113" fmla="*/ 1 h 3305"/>
                  <a:gd name="T114" fmla="*/ 207 w 4648"/>
                  <a:gd name="T115" fmla="*/ 2 h 330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648"/>
                  <a:gd name="T175" fmla="*/ 0 h 3305"/>
                  <a:gd name="T176" fmla="*/ 4648 w 4648"/>
                  <a:gd name="T177" fmla="*/ 3305 h 330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648" h="3305">
                    <a:moveTo>
                      <a:pt x="4648" y="85"/>
                    </a:moveTo>
                    <a:lnTo>
                      <a:pt x="4642" y="101"/>
                    </a:lnTo>
                    <a:lnTo>
                      <a:pt x="4623" y="144"/>
                    </a:lnTo>
                    <a:lnTo>
                      <a:pt x="4596" y="214"/>
                    </a:lnTo>
                    <a:lnTo>
                      <a:pt x="4562" y="306"/>
                    </a:lnTo>
                    <a:lnTo>
                      <a:pt x="4519" y="419"/>
                    </a:lnTo>
                    <a:lnTo>
                      <a:pt x="4473" y="551"/>
                    </a:lnTo>
                    <a:lnTo>
                      <a:pt x="4421" y="701"/>
                    </a:lnTo>
                    <a:lnTo>
                      <a:pt x="4366" y="863"/>
                    </a:lnTo>
                    <a:lnTo>
                      <a:pt x="4311" y="1037"/>
                    </a:lnTo>
                    <a:lnTo>
                      <a:pt x="4259" y="1218"/>
                    </a:lnTo>
                    <a:lnTo>
                      <a:pt x="4207" y="1408"/>
                    </a:lnTo>
                    <a:lnTo>
                      <a:pt x="4158" y="1600"/>
                    </a:lnTo>
                    <a:lnTo>
                      <a:pt x="4112" y="1793"/>
                    </a:lnTo>
                    <a:lnTo>
                      <a:pt x="4075" y="1989"/>
                    </a:lnTo>
                    <a:lnTo>
                      <a:pt x="4048" y="2179"/>
                    </a:lnTo>
                    <a:lnTo>
                      <a:pt x="4026" y="2363"/>
                    </a:lnTo>
                    <a:lnTo>
                      <a:pt x="3904" y="3305"/>
                    </a:lnTo>
                    <a:lnTo>
                      <a:pt x="3895" y="3305"/>
                    </a:lnTo>
                    <a:lnTo>
                      <a:pt x="3873" y="3305"/>
                    </a:lnTo>
                    <a:lnTo>
                      <a:pt x="3833" y="3302"/>
                    </a:lnTo>
                    <a:lnTo>
                      <a:pt x="3781" y="3299"/>
                    </a:lnTo>
                    <a:lnTo>
                      <a:pt x="3717" y="3296"/>
                    </a:lnTo>
                    <a:lnTo>
                      <a:pt x="3640" y="3293"/>
                    </a:lnTo>
                    <a:lnTo>
                      <a:pt x="3552" y="3290"/>
                    </a:lnTo>
                    <a:lnTo>
                      <a:pt x="3454" y="3287"/>
                    </a:lnTo>
                    <a:lnTo>
                      <a:pt x="3347" y="3281"/>
                    </a:lnTo>
                    <a:lnTo>
                      <a:pt x="3230" y="3275"/>
                    </a:lnTo>
                    <a:lnTo>
                      <a:pt x="3108" y="3269"/>
                    </a:lnTo>
                    <a:lnTo>
                      <a:pt x="2976" y="3263"/>
                    </a:lnTo>
                    <a:lnTo>
                      <a:pt x="2841" y="3253"/>
                    </a:lnTo>
                    <a:lnTo>
                      <a:pt x="2701" y="3247"/>
                    </a:lnTo>
                    <a:lnTo>
                      <a:pt x="2557" y="3238"/>
                    </a:lnTo>
                    <a:lnTo>
                      <a:pt x="2410" y="3229"/>
                    </a:lnTo>
                    <a:lnTo>
                      <a:pt x="2260" y="3220"/>
                    </a:lnTo>
                    <a:lnTo>
                      <a:pt x="2110" y="3210"/>
                    </a:lnTo>
                    <a:lnTo>
                      <a:pt x="1956" y="3198"/>
                    </a:lnTo>
                    <a:lnTo>
                      <a:pt x="1806" y="3189"/>
                    </a:lnTo>
                    <a:lnTo>
                      <a:pt x="1656" y="3177"/>
                    </a:lnTo>
                    <a:lnTo>
                      <a:pt x="1509" y="3165"/>
                    </a:lnTo>
                    <a:lnTo>
                      <a:pt x="1366" y="3155"/>
                    </a:lnTo>
                    <a:lnTo>
                      <a:pt x="1225" y="3140"/>
                    </a:lnTo>
                    <a:lnTo>
                      <a:pt x="1090" y="3128"/>
                    </a:lnTo>
                    <a:lnTo>
                      <a:pt x="961" y="3116"/>
                    </a:lnTo>
                    <a:lnTo>
                      <a:pt x="839" y="3100"/>
                    </a:lnTo>
                    <a:lnTo>
                      <a:pt x="723" y="3088"/>
                    </a:lnTo>
                    <a:lnTo>
                      <a:pt x="618" y="3073"/>
                    </a:lnTo>
                    <a:lnTo>
                      <a:pt x="521" y="3057"/>
                    </a:lnTo>
                    <a:lnTo>
                      <a:pt x="435" y="3042"/>
                    </a:lnTo>
                    <a:lnTo>
                      <a:pt x="358" y="3027"/>
                    </a:lnTo>
                    <a:lnTo>
                      <a:pt x="0" y="2926"/>
                    </a:lnTo>
                    <a:lnTo>
                      <a:pt x="0" y="2577"/>
                    </a:lnTo>
                    <a:lnTo>
                      <a:pt x="6" y="2568"/>
                    </a:lnTo>
                    <a:lnTo>
                      <a:pt x="31" y="2543"/>
                    </a:lnTo>
                    <a:lnTo>
                      <a:pt x="67" y="2500"/>
                    </a:lnTo>
                    <a:lnTo>
                      <a:pt x="116" y="2445"/>
                    </a:lnTo>
                    <a:lnTo>
                      <a:pt x="178" y="2378"/>
                    </a:lnTo>
                    <a:lnTo>
                      <a:pt x="251" y="2298"/>
                    </a:lnTo>
                    <a:lnTo>
                      <a:pt x="337" y="2210"/>
                    </a:lnTo>
                    <a:lnTo>
                      <a:pt x="432" y="2112"/>
                    </a:lnTo>
                    <a:lnTo>
                      <a:pt x="533" y="2008"/>
                    </a:lnTo>
                    <a:lnTo>
                      <a:pt x="646" y="1900"/>
                    </a:lnTo>
                    <a:lnTo>
                      <a:pt x="765" y="1787"/>
                    </a:lnTo>
                    <a:lnTo>
                      <a:pt x="894" y="1674"/>
                    </a:lnTo>
                    <a:lnTo>
                      <a:pt x="1029" y="1558"/>
                    </a:lnTo>
                    <a:lnTo>
                      <a:pt x="1167" y="1441"/>
                    </a:lnTo>
                    <a:lnTo>
                      <a:pt x="1310" y="1331"/>
                    </a:lnTo>
                    <a:lnTo>
                      <a:pt x="1457" y="1221"/>
                    </a:lnTo>
                    <a:lnTo>
                      <a:pt x="1460" y="1218"/>
                    </a:lnTo>
                    <a:lnTo>
                      <a:pt x="1473" y="1209"/>
                    </a:lnTo>
                    <a:lnTo>
                      <a:pt x="1494" y="1193"/>
                    </a:lnTo>
                    <a:lnTo>
                      <a:pt x="1522" y="1175"/>
                    </a:lnTo>
                    <a:lnTo>
                      <a:pt x="1558" y="1151"/>
                    </a:lnTo>
                    <a:lnTo>
                      <a:pt x="1601" y="1120"/>
                    </a:lnTo>
                    <a:lnTo>
                      <a:pt x="1650" y="1089"/>
                    </a:lnTo>
                    <a:lnTo>
                      <a:pt x="1705" y="1053"/>
                    </a:lnTo>
                    <a:lnTo>
                      <a:pt x="1767" y="1013"/>
                    </a:lnTo>
                    <a:lnTo>
                      <a:pt x="1834" y="970"/>
                    </a:lnTo>
                    <a:lnTo>
                      <a:pt x="1908" y="924"/>
                    </a:lnTo>
                    <a:lnTo>
                      <a:pt x="1984" y="875"/>
                    </a:lnTo>
                    <a:lnTo>
                      <a:pt x="2067" y="826"/>
                    </a:lnTo>
                    <a:lnTo>
                      <a:pt x="2152" y="774"/>
                    </a:lnTo>
                    <a:lnTo>
                      <a:pt x="2241" y="722"/>
                    </a:lnTo>
                    <a:lnTo>
                      <a:pt x="2336" y="667"/>
                    </a:lnTo>
                    <a:lnTo>
                      <a:pt x="2434" y="615"/>
                    </a:lnTo>
                    <a:lnTo>
                      <a:pt x="2535" y="560"/>
                    </a:lnTo>
                    <a:lnTo>
                      <a:pt x="2636" y="508"/>
                    </a:lnTo>
                    <a:lnTo>
                      <a:pt x="2743" y="453"/>
                    </a:lnTo>
                    <a:lnTo>
                      <a:pt x="2851" y="404"/>
                    </a:lnTo>
                    <a:lnTo>
                      <a:pt x="2961" y="352"/>
                    </a:lnTo>
                    <a:lnTo>
                      <a:pt x="3071" y="303"/>
                    </a:lnTo>
                    <a:lnTo>
                      <a:pt x="3181" y="257"/>
                    </a:lnTo>
                    <a:lnTo>
                      <a:pt x="3294" y="211"/>
                    </a:lnTo>
                    <a:lnTo>
                      <a:pt x="3408" y="171"/>
                    </a:lnTo>
                    <a:lnTo>
                      <a:pt x="3518" y="131"/>
                    </a:lnTo>
                    <a:lnTo>
                      <a:pt x="3631" y="98"/>
                    </a:lnTo>
                    <a:lnTo>
                      <a:pt x="3745" y="67"/>
                    </a:lnTo>
                    <a:lnTo>
                      <a:pt x="3855" y="43"/>
                    </a:lnTo>
                    <a:lnTo>
                      <a:pt x="3965" y="18"/>
                    </a:lnTo>
                    <a:lnTo>
                      <a:pt x="4072" y="3"/>
                    </a:lnTo>
                    <a:lnTo>
                      <a:pt x="4078" y="3"/>
                    </a:lnTo>
                    <a:lnTo>
                      <a:pt x="4091" y="3"/>
                    </a:lnTo>
                    <a:lnTo>
                      <a:pt x="4115" y="0"/>
                    </a:lnTo>
                    <a:lnTo>
                      <a:pt x="4146" y="0"/>
                    </a:lnTo>
                    <a:lnTo>
                      <a:pt x="4182" y="0"/>
                    </a:lnTo>
                    <a:lnTo>
                      <a:pt x="4222" y="0"/>
                    </a:lnTo>
                    <a:lnTo>
                      <a:pt x="4268" y="0"/>
                    </a:lnTo>
                    <a:lnTo>
                      <a:pt x="4314" y="0"/>
                    </a:lnTo>
                    <a:lnTo>
                      <a:pt x="4363" y="3"/>
                    </a:lnTo>
                    <a:lnTo>
                      <a:pt x="4412" y="9"/>
                    </a:lnTo>
                    <a:lnTo>
                      <a:pt x="4461" y="15"/>
                    </a:lnTo>
                    <a:lnTo>
                      <a:pt x="4507" y="24"/>
                    </a:lnTo>
                    <a:lnTo>
                      <a:pt x="4550" y="33"/>
                    </a:lnTo>
                    <a:lnTo>
                      <a:pt x="4590" y="49"/>
                    </a:lnTo>
                    <a:lnTo>
                      <a:pt x="4620" y="64"/>
                    </a:lnTo>
                    <a:lnTo>
                      <a:pt x="4648" y="85"/>
                    </a:lnTo>
                    <a:close/>
                  </a:path>
                </a:pathLst>
              </a:custGeom>
              <a:solidFill>
                <a:schemeClr val="accent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4" name="Freeform 381"/>
              <p:cNvSpPr>
                <a:spLocks/>
              </p:cNvSpPr>
              <p:nvPr/>
            </p:nvSpPr>
            <p:spPr bwMode="auto">
              <a:xfrm>
                <a:off x="8261" y="8557"/>
                <a:ext cx="344" cy="987"/>
              </a:xfrm>
              <a:custGeom>
                <a:avLst/>
                <a:gdLst>
                  <a:gd name="T0" fmla="*/ 16 w 971"/>
                  <a:gd name="T1" fmla="*/ 1 h 3318"/>
                  <a:gd name="T2" fmla="*/ 16 w 971"/>
                  <a:gd name="T3" fmla="*/ 4 h 3318"/>
                  <a:gd name="T4" fmla="*/ 13 w 971"/>
                  <a:gd name="T5" fmla="*/ 12 h 3318"/>
                  <a:gd name="T6" fmla="*/ 11 w 971"/>
                  <a:gd name="T7" fmla="*/ 23 h 3318"/>
                  <a:gd name="T8" fmla="*/ 8 w 971"/>
                  <a:gd name="T9" fmla="*/ 37 h 3318"/>
                  <a:gd name="T10" fmla="*/ 5 w 971"/>
                  <a:gd name="T11" fmla="*/ 52 h 3318"/>
                  <a:gd name="T12" fmla="*/ 2 w 971"/>
                  <a:gd name="T13" fmla="*/ 66 h 3318"/>
                  <a:gd name="T14" fmla="*/ 1 w 971"/>
                  <a:gd name="T15" fmla="*/ 78 h 3318"/>
                  <a:gd name="T16" fmla="*/ 0 w 971"/>
                  <a:gd name="T17" fmla="*/ 87 h 3318"/>
                  <a:gd name="T18" fmla="*/ 10 w 971"/>
                  <a:gd name="T19" fmla="*/ 87 h 3318"/>
                  <a:gd name="T20" fmla="*/ 10 w 971"/>
                  <a:gd name="T21" fmla="*/ 87 h 3318"/>
                  <a:gd name="T22" fmla="*/ 11 w 971"/>
                  <a:gd name="T23" fmla="*/ 85 h 3318"/>
                  <a:gd name="T24" fmla="*/ 11 w 971"/>
                  <a:gd name="T25" fmla="*/ 82 h 3318"/>
                  <a:gd name="T26" fmla="*/ 12 w 971"/>
                  <a:gd name="T27" fmla="*/ 79 h 3318"/>
                  <a:gd name="T28" fmla="*/ 13 w 971"/>
                  <a:gd name="T29" fmla="*/ 74 h 3318"/>
                  <a:gd name="T30" fmla="*/ 14 w 971"/>
                  <a:gd name="T31" fmla="*/ 69 h 3318"/>
                  <a:gd name="T32" fmla="*/ 16 w 971"/>
                  <a:gd name="T33" fmla="*/ 63 h 3318"/>
                  <a:gd name="T34" fmla="*/ 17 w 971"/>
                  <a:gd name="T35" fmla="*/ 57 h 3318"/>
                  <a:gd name="T36" fmla="*/ 19 w 971"/>
                  <a:gd name="T37" fmla="*/ 51 h 3318"/>
                  <a:gd name="T38" fmla="*/ 22 w 971"/>
                  <a:gd name="T39" fmla="*/ 44 h 3318"/>
                  <a:gd name="T40" fmla="*/ 24 w 971"/>
                  <a:gd name="T41" fmla="*/ 37 h 3318"/>
                  <a:gd name="T42" fmla="*/ 28 w 971"/>
                  <a:gd name="T43" fmla="*/ 30 h 3318"/>
                  <a:gd name="T44" fmla="*/ 31 w 971"/>
                  <a:gd name="T45" fmla="*/ 23 h 3318"/>
                  <a:gd name="T46" fmla="*/ 35 w 971"/>
                  <a:gd name="T47" fmla="*/ 16 h 3318"/>
                  <a:gd name="T48" fmla="*/ 39 w 971"/>
                  <a:gd name="T49" fmla="*/ 9 h 3318"/>
                  <a:gd name="T50" fmla="*/ 43 w 971"/>
                  <a:gd name="T51" fmla="*/ 3 h 3318"/>
                  <a:gd name="T52" fmla="*/ 43 w 971"/>
                  <a:gd name="T53" fmla="*/ 2 h 3318"/>
                  <a:gd name="T54" fmla="*/ 43 w 971"/>
                  <a:gd name="T55" fmla="*/ 2 h 3318"/>
                  <a:gd name="T56" fmla="*/ 42 w 971"/>
                  <a:gd name="T57" fmla="*/ 2 h 3318"/>
                  <a:gd name="T58" fmla="*/ 41 w 971"/>
                  <a:gd name="T59" fmla="*/ 2 h 3318"/>
                  <a:gd name="T60" fmla="*/ 40 w 971"/>
                  <a:gd name="T61" fmla="*/ 1 h 3318"/>
                  <a:gd name="T62" fmla="*/ 39 w 971"/>
                  <a:gd name="T63" fmla="*/ 1 h 3318"/>
                  <a:gd name="T64" fmla="*/ 38 w 971"/>
                  <a:gd name="T65" fmla="*/ 1 h 3318"/>
                  <a:gd name="T66" fmla="*/ 36 w 971"/>
                  <a:gd name="T67" fmla="*/ 1 h 3318"/>
                  <a:gd name="T68" fmla="*/ 34 w 971"/>
                  <a:gd name="T69" fmla="*/ 1 h 3318"/>
                  <a:gd name="T70" fmla="*/ 32 w 971"/>
                  <a:gd name="T71" fmla="*/ 0 h 3318"/>
                  <a:gd name="T72" fmla="*/ 30 w 971"/>
                  <a:gd name="T73" fmla="*/ 0 h 3318"/>
                  <a:gd name="T74" fmla="*/ 28 w 971"/>
                  <a:gd name="T75" fmla="*/ 0 h 3318"/>
                  <a:gd name="T76" fmla="*/ 25 w 971"/>
                  <a:gd name="T77" fmla="*/ 0 h 3318"/>
                  <a:gd name="T78" fmla="*/ 22 w 971"/>
                  <a:gd name="T79" fmla="*/ 0 h 3318"/>
                  <a:gd name="T80" fmla="*/ 19 w 971"/>
                  <a:gd name="T81" fmla="*/ 1 h 3318"/>
                  <a:gd name="T82" fmla="*/ 16 w 971"/>
                  <a:gd name="T83" fmla="*/ 1 h 33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71"/>
                  <a:gd name="T127" fmla="*/ 0 h 3318"/>
                  <a:gd name="T128" fmla="*/ 971 w 971"/>
                  <a:gd name="T129" fmla="*/ 3318 h 33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71" h="3318">
                    <a:moveTo>
                      <a:pt x="362" y="34"/>
                    </a:moveTo>
                    <a:lnTo>
                      <a:pt x="346" y="147"/>
                    </a:lnTo>
                    <a:lnTo>
                      <a:pt x="306" y="447"/>
                    </a:lnTo>
                    <a:lnTo>
                      <a:pt x="248" y="885"/>
                    </a:lnTo>
                    <a:lnTo>
                      <a:pt x="181" y="1408"/>
                    </a:lnTo>
                    <a:lnTo>
                      <a:pt x="114" y="1965"/>
                    </a:lnTo>
                    <a:lnTo>
                      <a:pt x="55" y="2504"/>
                    </a:lnTo>
                    <a:lnTo>
                      <a:pt x="16" y="2972"/>
                    </a:lnTo>
                    <a:lnTo>
                      <a:pt x="0" y="3318"/>
                    </a:lnTo>
                    <a:lnTo>
                      <a:pt x="227" y="3318"/>
                    </a:lnTo>
                    <a:lnTo>
                      <a:pt x="230" y="3297"/>
                    </a:lnTo>
                    <a:lnTo>
                      <a:pt x="236" y="3233"/>
                    </a:lnTo>
                    <a:lnTo>
                      <a:pt x="248" y="3129"/>
                    </a:lnTo>
                    <a:lnTo>
                      <a:pt x="264" y="2991"/>
                    </a:lnTo>
                    <a:lnTo>
                      <a:pt x="288" y="2823"/>
                    </a:lnTo>
                    <a:lnTo>
                      <a:pt x="316" y="2630"/>
                    </a:lnTo>
                    <a:lnTo>
                      <a:pt x="349" y="2412"/>
                    </a:lnTo>
                    <a:lnTo>
                      <a:pt x="389" y="2177"/>
                    </a:lnTo>
                    <a:lnTo>
                      <a:pt x="438" y="1926"/>
                    </a:lnTo>
                    <a:lnTo>
                      <a:pt x="490" y="1666"/>
                    </a:lnTo>
                    <a:lnTo>
                      <a:pt x="551" y="1399"/>
                    </a:lnTo>
                    <a:lnTo>
                      <a:pt x="619" y="1127"/>
                    </a:lnTo>
                    <a:lnTo>
                      <a:pt x="695" y="861"/>
                    </a:lnTo>
                    <a:lnTo>
                      <a:pt x="778" y="594"/>
                    </a:lnTo>
                    <a:lnTo>
                      <a:pt x="870" y="340"/>
                    </a:lnTo>
                    <a:lnTo>
                      <a:pt x="971" y="98"/>
                    </a:lnTo>
                    <a:lnTo>
                      <a:pt x="968" y="95"/>
                    </a:lnTo>
                    <a:lnTo>
                      <a:pt x="962" y="92"/>
                    </a:lnTo>
                    <a:lnTo>
                      <a:pt x="949" y="83"/>
                    </a:lnTo>
                    <a:lnTo>
                      <a:pt x="931" y="74"/>
                    </a:lnTo>
                    <a:lnTo>
                      <a:pt x="910" y="62"/>
                    </a:lnTo>
                    <a:lnTo>
                      <a:pt x="882" y="52"/>
                    </a:lnTo>
                    <a:lnTo>
                      <a:pt x="848" y="40"/>
                    </a:lnTo>
                    <a:lnTo>
                      <a:pt x="815" y="28"/>
                    </a:lnTo>
                    <a:lnTo>
                      <a:pt x="772" y="19"/>
                    </a:lnTo>
                    <a:lnTo>
                      <a:pt x="726" y="10"/>
                    </a:lnTo>
                    <a:lnTo>
                      <a:pt x="677" y="3"/>
                    </a:lnTo>
                    <a:lnTo>
                      <a:pt x="622" y="0"/>
                    </a:lnTo>
                    <a:lnTo>
                      <a:pt x="564" y="3"/>
                    </a:lnTo>
                    <a:lnTo>
                      <a:pt x="499" y="7"/>
                    </a:lnTo>
                    <a:lnTo>
                      <a:pt x="432" y="19"/>
                    </a:lnTo>
                    <a:lnTo>
                      <a:pt x="362" y="34"/>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5" name="Freeform 382"/>
              <p:cNvSpPr>
                <a:spLocks/>
              </p:cNvSpPr>
              <p:nvPr/>
            </p:nvSpPr>
            <p:spPr bwMode="auto">
              <a:xfrm>
                <a:off x="7065" y="9457"/>
                <a:ext cx="1276" cy="345"/>
              </a:xfrm>
              <a:custGeom>
                <a:avLst/>
                <a:gdLst>
                  <a:gd name="T0" fmla="*/ 160 w 3601"/>
                  <a:gd name="T1" fmla="*/ 8 h 1157"/>
                  <a:gd name="T2" fmla="*/ 157 w 3601"/>
                  <a:gd name="T3" fmla="*/ 31 h 1157"/>
                  <a:gd name="T4" fmla="*/ 151 w 3601"/>
                  <a:gd name="T5" fmla="*/ 31 h 1157"/>
                  <a:gd name="T6" fmla="*/ 56 w 3601"/>
                  <a:gd name="T7" fmla="*/ 16 h 1157"/>
                  <a:gd name="T8" fmla="*/ 0 w 3601"/>
                  <a:gd name="T9" fmla="*/ 0 h 1157"/>
                  <a:gd name="T10" fmla="*/ 10 w 3601"/>
                  <a:gd name="T11" fmla="*/ 1 h 1157"/>
                  <a:gd name="T12" fmla="*/ 10 w 3601"/>
                  <a:gd name="T13" fmla="*/ 1 h 1157"/>
                  <a:gd name="T14" fmla="*/ 11 w 3601"/>
                  <a:gd name="T15" fmla="*/ 1 h 1157"/>
                  <a:gd name="T16" fmla="*/ 12 w 3601"/>
                  <a:gd name="T17" fmla="*/ 1 h 1157"/>
                  <a:gd name="T18" fmla="*/ 15 w 3601"/>
                  <a:gd name="T19" fmla="*/ 1 h 1157"/>
                  <a:gd name="T20" fmla="*/ 17 w 3601"/>
                  <a:gd name="T21" fmla="*/ 1 h 1157"/>
                  <a:gd name="T22" fmla="*/ 21 w 3601"/>
                  <a:gd name="T23" fmla="*/ 2 h 1157"/>
                  <a:gd name="T24" fmla="*/ 24 w 3601"/>
                  <a:gd name="T25" fmla="*/ 2 h 1157"/>
                  <a:gd name="T26" fmla="*/ 29 w 3601"/>
                  <a:gd name="T27" fmla="*/ 2 h 1157"/>
                  <a:gd name="T28" fmla="*/ 33 w 3601"/>
                  <a:gd name="T29" fmla="*/ 2 h 1157"/>
                  <a:gd name="T30" fmla="*/ 38 w 3601"/>
                  <a:gd name="T31" fmla="*/ 3 h 1157"/>
                  <a:gd name="T32" fmla="*/ 44 w 3601"/>
                  <a:gd name="T33" fmla="*/ 3 h 1157"/>
                  <a:gd name="T34" fmla="*/ 49 w 3601"/>
                  <a:gd name="T35" fmla="*/ 3 h 1157"/>
                  <a:gd name="T36" fmla="*/ 55 w 3601"/>
                  <a:gd name="T37" fmla="*/ 4 h 1157"/>
                  <a:gd name="T38" fmla="*/ 61 w 3601"/>
                  <a:gd name="T39" fmla="*/ 4 h 1157"/>
                  <a:gd name="T40" fmla="*/ 67 w 3601"/>
                  <a:gd name="T41" fmla="*/ 4 h 1157"/>
                  <a:gd name="T42" fmla="*/ 73 w 3601"/>
                  <a:gd name="T43" fmla="*/ 4 h 1157"/>
                  <a:gd name="T44" fmla="*/ 80 w 3601"/>
                  <a:gd name="T45" fmla="*/ 5 h 1157"/>
                  <a:gd name="T46" fmla="*/ 86 w 3601"/>
                  <a:gd name="T47" fmla="*/ 5 h 1157"/>
                  <a:gd name="T48" fmla="*/ 92 w 3601"/>
                  <a:gd name="T49" fmla="*/ 5 h 1157"/>
                  <a:gd name="T50" fmla="*/ 99 w 3601"/>
                  <a:gd name="T51" fmla="*/ 6 h 1157"/>
                  <a:gd name="T52" fmla="*/ 105 w 3601"/>
                  <a:gd name="T53" fmla="*/ 6 h 1157"/>
                  <a:gd name="T54" fmla="*/ 112 w 3601"/>
                  <a:gd name="T55" fmla="*/ 6 h 1157"/>
                  <a:gd name="T56" fmla="*/ 118 w 3601"/>
                  <a:gd name="T57" fmla="*/ 7 h 1157"/>
                  <a:gd name="T58" fmla="*/ 124 w 3601"/>
                  <a:gd name="T59" fmla="*/ 7 h 1157"/>
                  <a:gd name="T60" fmla="*/ 129 w 3601"/>
                  <a:gd name="T61" fmla="*/ 7 h 1157"/>
                  <a:gd name="T62" fmla="*/ 135 w 3601"/>
                  <a:gd name="T63" fmla="*/ 7 h 1157"/>
                  <a:gd name="T64" fmla="*/ 140 w 3601"/>
                  <a:gd name="T65" fmla="*/ 7 h 1157"/>
                  <a:gd name="T66" fmla="*/ 145 w 3601"/>
                  <a:gd name="T67" fmla="*/ 7 h 1157"/>
                  <a:gd name="T68" fmla="*/ 149 w 3601"/>
                  <a:gd name="T69" fmla="*/ 8 h 1157"/>
                  <a:gd name="T70" fmla="*/ 153 w 3601"/>
                  <a:gd name="T71" fmla="*/ 8 h 1157"/>
                  <a:gd name="T72" fmla="*/ 157 w 3601"/>
                  <a:gd name="T73" fmla="*/ 8 h 1157"/>
                  <a:gd name="T74" fmla="*/ 160 w 3601"/>
                  <a:gd name="T75" fmla="*/ 8 h 1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01"/>
                  <a:gd name="T115" fmla="*/ 0 h 1157"/>
                  <a:gd name="T116" fmla="*/ 3601 w 3601"/>
                  <a:gd name="T117" fmla="*/ 1157 h 1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01" h="1157">
                    <a:moveTo>
                      <a:pt x="3601" y="290"/>
                    </a:moveTo>
                    <a:lnTo>
                      <a:pt x="3533" y="1157"/>
                    </a:lnTo>
                    <a:lnTo>
                      <a:pt x="3386" y="1157"/>
                    </a:lnTo>
                    <a:lnTo>
                      <a:pt x="1268" y="584"/>
                    </a:lnTo>
                    <a:lnTo>
                      <a:pt x="0" y="0"/>
                    </a:lnTo>
                    <a:lnTo>
                      <a:pt x="211" y="46"/>
                    </a:lnTo>
                    <a:lnTo>
                      <a:pt x="221" y="46"/>
                    </a:lnTo>
                    <a:lnTo>
                      <a:pt x="242" y="49"/>
                    </a:lnTo>
                    <a:lnTo>
                      <a:pt x="279" y="52"/>
                    </a:lnTo>
                    <a:lnTo>
                      <a:pt x="328" y="58"/>
                    </a:lnTo>
                    <a:lnTo>
                      <a:pt x="392" y="61"/>
                    </a:lnTo>
                    <a:lnTo>
                      <a:pt x="466" y="70"/>
                    </a:lnTo>
                    <a:lnTo>
                      <a:pt x="548" y="76"/>
                    </a:lnTo>
                    <a:lnTo>
                      <a:pt x="643" y="85"/>
                    </a:lnTo>
                    <a:lnTo>
                      <a:pt x="747" y="94"/>
                    </a:lnTo>
                    <a:lnTo>
                      <a:pt x="857" y="104"/>
                    </a:lnTo>
                    <a:lnTo>
                      <a:pt x="977" y="116"/>
                    </a:lnTo>
                    <a:lnTo>
                      <a:pt x="1099" y="125"/>
                    </a:lnTo>
                    <a:lnTo>
                      <a:pt x="1231" y="137"/>
                    </a:lnTo>
                    <a:lnTo>
                      <a:pt x="1366" y="150"/>
                    </a:lnTo>
                    <a:lnTo>
                      <a:pt x="1503" y="162"/>
                    </a:lnTo>
                    <a:lnTo>
                      <a:pt x="1644" y="171"/>
                    </a:lnTo>
                    <a:lnTo>
                      <a:pt x="1788" y="183"/>
                    </a:lnTo>
                    <a:lnTo>
                      <a:pt x="1932" y="195"/>
                    </a:lnTo>
                    <a:lnTo>
                      <a:pt x="2079" y="208"/>
                    </a:lnTo>
                    <a:lnTo>
                      <a:pt x="2223" y="217"/>
                    </a:lnTo>
                    <a:lnTo>
                      <a:pt x="2367" y="229"/>
                    </a:lnTo>
                    <a:lnTo>
                      <a:pt x="2508" y="238"/>
                    </a:lnTo>
                    <a:lnTo>
                      <a:pt x="2646" y="248"/>
                    </a:lnTo>
                    <a:lnTo>
                      <a:pt x="2777" y="257"/>
                    </a:lnTo>
                    <a:lnTo>
                      <a:pt x="2906" y="266"/>
                    </a:lnTo>
                    <a:lnTo>
                      <a:pt x="3031" y="272"/>
                    </a:lnTo>
                    <a:lnTo>
                      <a:pt x="3148" y="278"/>
                    </a:lnTo>
                    <a:lnTo>
                      <a:pt x="3255" y="284"/>
                    </a:lnTo>
                    <a:lnTo>
                      <a:pt x="3356" y="287"/>
                    </a:lnTo>
                    <a:lnTo>
                      <a:pt x="3448" y="290"/>
                    </a:lnTo>
                    <a:lnTo>
                      <a:pt x="3530" y="290"/>
                    </a:lnTo>
                    <a:lnTo>
                      <a:pt x="3601" y="290"/>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6" name="Freeform 383"/>
              <p:cNvSpPr>
                <a:spLocks/>
              </p:cNvSpPr>
              <p:nvPr/>
            </p:nvSpPr>
            <p:spPr bwMode="auto">
              <a:xfrm>
                <a:off x="8022" y="8707"/>
                <a:ext cx="103" cy="113"/>
              </a:xfrm>
              <a:custGeom>
                <a:avLst/>
                <a:gdLst>
                  <a:gd name="T0" fmla="*/ 0 w 290"/>
                  <a:gd name="T1" fmla="*/ 1 h 377"/>
                  <a:gd name="T2" fmla="*/ 0 w 290"/>
                  <a:gd name="T3" fmla="*/ 10 h 377"/>
                  <a:gd name="T4" fmla="*/ 7 w 290"/>
                  <a:gd name="T5" fmla="*/ 10 h 377"/>
                  <a:gd name="T6" fmla="*/ 13 w 290"/>
                  <a:gd name="T7" fmla="*/ 8 h 377"/>
                  <a:gd name="T8" fmla="*/ 7 w 290"/>
                  <a:gd name="T9" fmla="*/ 0 h 377"/>
                  <a:gd name="T10" fmla="*/ 5 w 290"/>
                  <a:gd name="T11" fmla="*/ 6 h 377"/>
                  <a:gd name="T12" fmla="*/ 0 w 290"/>
                  <a:gd name="T13" fmla="*/ 1 h 377"/>
                  <a:gd name="T14" fmla="*/ 0 60000 65536"/>
                  <a:gd name="T15" fmla="*/ 0 60000 65536"/>
                  <a:gd name="T16" fmla="*/ 0 60000 65536"/>
                  <a:gd name="T17" fmla="*/ 0 60000 65536"/>
                  <a:gd name="T18" fmla="*/ 0 60000 65536"/>
                  <a:gd name="T19" fmla="*/ 0 60000 65536"/>
                  <a:gd name="T20" fmla="*/ 0 60000 65536"/>
                  <a:gd name="T21" fmla="*/ 0 w 290"/>
                  <a:gd name="T22" fmla="*/ 0 h 377"/>
                  <a:gd name="T23" fmla="*/ 290 w 290"/>
                  <a:gd name="T24" fmla="*/ 377 h 3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0" h="377">
                    <a:moveTo>
                      <a:pt x="0" y="49"/>
                    </a:moveTo>
                    <a:lnTo>
                      <a:pt x="3" y="377"/>
                    </a:lnTo>
                    <a:lnTo>
                      <a:pt x="150" y="365"/>
                    </a:lnTo>
                    <a:lnTo>
                      <a:pt x="290" y="316"/>
                    </a:lnTo>
                    <a:lnTo>
                      <a:pt x="168" y="0"/>
                    </a:lnTo>
                    <a:lnTo>
                      <a:pt x="122" y="230"/>
                    </a:lnTo>
                    <a:lnTo>
                      <a:pt x="0" y="49"/>
                    </a:lnTo>
                    <a:close/>
                  </a:path>
                </a:pathLst>
              </a:custGeom>
              <a:solidFill>
                <a:srgbClr val="191919"/>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7" name="Freeform 384"/>
              <p:cNvSpPr>
                <a:spLocks/>
              </p:cNvSpPr>
              <p:nvPr/>
            </p:nvSpPr>
            <p:spPr bwMode="auto">
              <a:xfrm>
                <a:off x="8008" y="8794"/>
                <a:ext cx="131" cy="33"/>
              </a:xfrm>
              <a:custGeom>
                <a:avLst/>
                <a:gdLst>
                  <a:gd name="T0" fmla="*/ 0 w 370"/>
                  <a:gd name="T1" fmla="*/ 2 h 113"/>
                  <a:gd name="T2" fmla="*/ 8 w 370"/>
                  <a:gd name="T3" fmla="*/ 2 h 113"/>
                  <a:gd name="T4" fmla="*/ 16 w 370"/>
                  <a:gd name="T5" fmla="*/ 0 h 113"/>
                  <a:gd name="T6" fmla="*/ 16 w 370"/>
                  <a:gd name="T7" fmla="*/ 1 h 113"/>
                  <a:gd name="T8" fmla="*/ 8 w 370"/>
                  <a:gd name="T9" fmla="*/ 3 h 113"/>
                  <a:gd name="T10" fmla="*/ 0 w 370"/>
                  <a:gd name="T11" fmla="*/ 3 h 113"/>
                  <a:gd name="T12" fmla="*/ 0 w 370"/>
                  <a:gd name="T13" fmla="*/ 2 h 113"/>
                  <a:gd name="T14" fmla="*/ 0 60000 65536"/>
                  <a:gd name="T15" fmla="*/ 0 60000 65536"/>
                  <a:gd name="T16" fmla="*/ 0 60000 65536"/>
                  <a:gd name="T17" fmla="*/ 0 60000 65536"/>
                  <a:gd name="T18" fmla="*/ 0 60000 65536"/>
                  <a:gd name="T19" fmla="*/ 0 60000 65536"/>
                  <a:gd name="T20" fmla="*/ 0 60000 65536"/>
                  <a:gd name="T21" fmla="*/ 0 w 370"/>
                  <a:gd name="T22" fmla="*/ 0 h 113"/>
                  <a:gd name="T23" fmla="*/ 370 w 370"/>
                  <a:gd name="T24" fmla="*/ 113 h 1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0" h="113">
                    <a:moveTo>
                      <a:pt x="0" y="68"/>
                    </a:moveTo>
                    <a:lnTo>
                      <a:pt x="190" y="74"/>
                    </a:lnTo>
                    <a:lnTo>
                      <a:pt x="346" y="0"/>
                    </a:lnTo>
                    <a:lnTo>
                      <a:pt x="370" y="40"/>
                    </a:lnTo>
                    <a:lnTo>
                      <a:pt x="196" y="113"/>
                    </a:lnTo>
                    <a:lnTo>
                      <a:pt x="0" y="113"/>
                    </a:lnTo>
                    <a:lnTo>
                      <a:pt x="0" y="68"/>
                    </a:lnTo>
                    <a:close/>
                  </a:path>
                </a:pathLst>
              </a:custGeom>
              <a:solidFill>
                <a:srgbClr val="4C4F4F"/>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8" name="Freeform 385"/>
              <p:cNvSpPr>
                <a:spLocks/>
              </p:cNvSpPr>
              <p:nvPr/>
            </p:nvSpPr>
            <p:spPr bwMode="auto">
              <a:xfrm>
                <a:off x="7631" y="8579"/>
                <a:ext cx="672" cy="1334"/>
              </a:xfrm>
              <a:custGeom>
                <a:avLst/>
                <a:gdLst>
                  <a:gd name="T0" fmla="*/ 82 w 1896"/>
                  <a:gd name="T1" fmla="*/ 0 h 4484"/>
                  <a:gd name="T2" fmla="*/ 7 w 1896"/>
                  <a:gd name="T3" fmla="*/ 104 h 4484"/>
                  <a:gd name="T4" fmla="*/ 1 w 1896"/>
                  <a:gd name="T5" fmla="*/ 110 h 4484"/>
                  <a:gd name="T6" fmla="*/ 2 w 1896"/>
                  <a:gd name="T7" fmla="*/ 111 h 4484"/>
                  <a:gd name="T8" fmla="*/ 8 w 1896"/>
                  <a:gd name="T9" fmla="*/ 106 h 4484"/>
                  <a:gd name="T10" fmla="*/ 0 w 1896"/>
                  <a:gd name="T11" fmla="*/ 116 h 4484"/>
                  <a:gd name="T12" fmla="*/ 0 w 1896"/>
                  <a:gd name="T13" fmla="*/ 118 h 4484"/>
                  <a:gd name="T14" fmla="*/ 11 w 1896"/>
                  <a:gd name="T15" fmla="*/ 105 h 4484"/>
                  <a:gd name="T16" fmla="*/ 84 w 1896"/>
                  <a:gd name="T17" fmla="*/ 0 h 4484"/>
                  <a:gd name="T18" fmla="*/ 82 w 1896"/>
                  <a:gd name="T19" fmla="*/ 0 h 44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96"/>
                  <a:gd name="T31" fmla="*/ 0 h 4484"/>
                  <a:gd name="T32" fmla="*/ 1896 w 1896"/>
                  <a:gd name="T33" fmla="*/ 4484 h 448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96" h="4484">
                    <a:moveTo>
                      <a:pt x="1841" y="15"/>
                    </a:moveTo>
                    <a:lnTo>
                      <a:pt x="163" y="3958"/>
                    </a:lnTo>
                    <a:lnTo>
                      <a:pt x="13" y="4181"/>
                    </a:lnTo>
                    <a:lnTo>
                      <a:pt x="55" y="4199"/>
                    </a:lnTo>
                    <a:lnTo>
                      <a:pt x="175" y="4031"/>
                    </a:lnTo>
                    <a:lnTo>
                      <a:pt x="0" y="4417"/>
                    </a:lnTo>
                    <a:lnTo>
                      <a:pt x="7" y="4484"/>
                    </a:lnTo>
                    <a:lnTo>
                      <a:pt x="242" y="3976"/>
                    </a:lnTo>
                    <a:lnTo>
                      <a:pt x="1896" y="0"/>
                    </a:lnTo>
                    <a:lnTo>
                      <a:pt x="1841" y="15"/>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09" name="Freeform 386"/>
              <p:cNvSpPr>
                <a:spLocks/>
              </p:cNvSpPr>
              <p:nvPr/>
            </p:nvSpPr>
            <p:spPr bwMode="auto">
              <a:xfrm>
                <a:off x="7600" y="8547"/>
                <a:ext cx="296" cy="60"/>
              </a:xfrm>
              <a:custGeom>
                <a:avLst/>
                <a:gdLst>
                  <a:gd name="T0" fmla="*/ 37 w 835"/>
                  <a:gd name="T1" fmla="*/ 0 h 199"/>
                  <a:gd name="T2" fmla="*/ 9 w 835"/>
                  <a:gd name="T3" fmla="*/ 0 h 199"/>
                  <a:gd name="T4" fmla="*/ 0 w 835"/>
                  <a:gd name="T5" fmla="*/ 3 h 199"/>
                  <a:gd name="T6" fmla="*/ 0 w 835"/>
                  <a:gd name="T7" fmla="*/ 5 h 199"/>
                  <a:gd name="T8" fmla="*/ 9 w 835"/>
                  <a:gd name="T9" fmla="*/ 2 h 199"/>
                  <a:gd name="T10" fmla="*/ 34 w 835"/>
                  <a:gd name="T11" fmla="*/ 2 h 199"/>
                  <a:gd name="T12" fmla="*/ 37 w 835"/>
                  <a:gd name="T13" fmla="*/ 0 h 199"/>
                  <a:gd name="T14" fmla="*/ 0 60000 65536"/>
                  <a:gd name="T15" fmla="*/ 0 60000 65536"/>
                  <a:gd name="T16" fmla="*/ 0 60000 65536"/>
                  <a:gd name="T17" fmla="*/ 0 60000 65536"/>
                  <a:gd name="T18" fmla="*/ 0 60000 65536"/>
                  <a:gd name="T19" fmla="*/ 0 60000 65536"/>
                  <a:gd name="T20" fmla="*/ 0 60000 65536"/>
                  <a:gd name="T21" fmla="*/ 0 w 835"/>
                  <a:gd name="T22" fmla="*/ 0 h 199"/>
                  <a:gd name="T23" fmla="*/ 835 w 835"/>
                  <a:gd name="T24" fmla="*/ 199 h 1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5" h="199">
                    <a:moveTo>
                      <a:pt x="835" y="0"/>
                    </a:moveTo>
                    <a:lnTo>
                      <a:pt x="189" y="0"/>
                    </a:lnTo>
                    <a:lnTo>
                      <a:pt x="6" y="122"/>
                    </a:lnTo>
                    <a:lnTo>
                      <a:pt x="0" y="199"/>
                    </a:lnTo>
                    <a:lnTo>
                      <a:pt x="196" y="55"/>
                    </a:lnTo>
                    <a:lnTo>
                      <a:pt x="765" y="55"/>
                    </a:lnTo>
                    <a:lnTo>
                      <a:pt x="835" y="0"/>
                    </a:lnTo>
                    <a:close/>
                  </a:path>
                </a:pathLst>
              </a:custGeom>
              <a:solidFill>
                <a:srgbClr val="141616"/>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10" name="Freeform 387"/>
              <p:cNvSpPr>
                <a:spLocks/>
              </p:cNvSpPr>
              <p:nvPr/>
            </p:nvSpPr>
            <p:spPr bwMode="auto">
              <a:xfrm>
                <a:off x="7720" y="8591"/>
                <a:ext cx="81" cy="35"/>
              </a:xfrm>
              <a:custGeom>
                <a:avLst/>
                <a:gdLst>
                  <a:gd name="T0" fmla="*/ 10 w 230"/>
                  <a:gd name="T1" fmla="*/ 1 h 116"/>
                  <a:gd name="T2" fmla="*/ 10 w 230"/>
                  <a:gd name="T3" fmla="*/ 0 h 116"/>
                  <a:gd name="T4" fmla="*/ 0 w 230"/>
                  <a:gd name="T5" fmla="*/ 0 h 116"/>
                  <a:gd name="T6" fmla="*/ 0 w 230"/>
                  <a:gd name="T7" fmla="*/ 3 h 116"/>
                  <a:gd name="T8" fmla="*/ 5 w 230"/>
                  <a:gd name="T9" fmla="*/ 3 h 116"/>
                  <a:gd name="T10" fmla="*/ 10 w 230"/>
                  <a:gd name="T11" fmla="*/ 1 h 116"/>
                  <a:gd name="T12" fmla="*/ 0 60000 65536"/>
                  <a:gd name="T13" fmla="*/ 0 60000 65536"/>
                  <a:gd name="T14" fmla="*/ 0 60000 65536"/>
                  <a:gd name="T15" fmla="*/ 0 60000 65536"/>
                  <a:gd name="T16" fmla="*/ 0 60000 65536"/>
                  <a:gd name="T17" fmla="*/ 0 60000 65536"/>
                  <a:gd name="T18" fmla="*/ 0 w 230"/>
                  <a:gd name="T19" fmla="*/ 0 h 116"/>
                  <a:gd name="T20" fmla="*/ 230 w 230"/>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30" h="116">
                    <a:moveTo>
                      <a:pt x="230" y="33"/>
                    </a:moveTo>
                    <a:lnTo>
                      <a:pt x="230" y="0"/>
                    </a:lnTo>
                    <a:lnTo>
                      <a:pt x="0" y="0"/>
                    </a:lnTo>
                    <a:lnTo>
                      <a:pt x="0" y="116"/>
                    </a:lnTo>
                    <a:lnTo>
                      <a:pt x="108" y="116"/>
                    </a:lnTo>
                    <a:lnTo>
                      <a:pt x="230" y="33"/>
                    </a:lnTo>
                    <a:close/>
                  </a:path>
                </a:pathLst>
              </a:custGeom>
              <a:solidFill>
                <a:srgbClr val="141616"/>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11" name="Freeform 388"/>
              <p:cNvSpPr>
                <a:spLocks/>
              </p:cNvSpPr>
              <p:nvPr/>
            </p:nvSpPr>
            <p:spPr bwMode="auto">
              <a:xfrm>
                <a:off x="7622" y="8591"/>
                <a:ext cx="48" cy="38"/>
              </a:xfrm>
              <a:custGeom>
                <a:avLst/>
                <a:gdLst>
                  <a:gd name="T0" fmla="*/ 6 w 135"/>
                  <a:gd name="T1" fmla="*/ 0 h 128"/>
                  <a:gd name="T2" fmla="*/ 6 w 135"/>
                  <a:gd name="T3" fmla="*/ 3 h 128"/>
                  <a:gd name="T4" fmla="*/ 0 w 135"/>
                  <a:gd name="T5" fmla="*/ 3 h 128"/>
                  <a:gd name="T6" fmla="*/ 0 w 135"/>
                  <a:gd name="T7" fmla="*/ 1 h 128"/>
                  <a:gd name="T8" fmla="*/ 6 w 135"/>
                  <a:gd name="T9" fmla="*/ 0 h 128"/>
                  <a:gd name="T10" fmla="*/ 0 60000 65536"/>
                  <a:gd name="T11" fmla="*/ 0 60000 65536"/>
                  <a:gd name="T12" fmla="*/ 0 60000 65536"/>
                  <a:gd name="T13" fmla="*/ 0 60000 65536"/>
                  <a:gd name="T14" fmla="*/ 0 60000 65536"/>
                  <a:gd name="T15" fmla="*/ 0 w 135"/>
                  <a:gd name="T16" fmla="*/ 0 h 128"/>
                  <a:gd name="T17" fmla="*/ 135 w 135"/>
                  <a:gd name="T18" fmla="*/ 128 h 128"/>
                </a:gdLst>
                <a:ahLst/>
                <a:cxnLst>
                  <a:cxn ang="T10">
                    <a:pos x="T0" y="T1"/>
                  </a:cxn>
                  <a:cxn ang="T11">
                    <a:pos x="T2" y="T3"/>
                  </a:cxn>
                  <a:cxn ang="T12">
                    <a:pos x="T4" y="T5"/>
                  </a:cxn>
                  <a:cxn ang="T13">
                    <a:pos x="T6" y="T7"/>
                  </a:cxn>
                  <a:cxn ang="T14">
                    <a:pos x="T8" y="T9"/>
                  </a:cxn>
                </a:cxnLst>
                <a:rect l="T15" t="T16" r="T17" b="T18"/>
                <a:pathLst>
                  <a:path w="135" h="128">
                    <a:moveTo>
                      <a:pt x="135" y="0"/>
                    </a:moveTo>
                    <a:lnTo>
                      <a:pt x="135" y="128"/>
                    </a:lnTo>
                    <a:lnTo>
                      <a:pt x="0" y="128"/>
                    </a:lnTo>
                    <a:lnTo>
                      <a:pt x="0" y="61"/>
                    </a:lnTo>
                    <a:lnTo>
                      <a:pt x="135" y="0"/>
                    </a:lnTo>
                    <a:close/>
                  </a:path>
                </a:pathLst>
              </a:custGeom>
              <a:solidFill>
                <a:srgbClr val="141616"/>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12" name="Freeform 389"/>
              <p:cNvSpPr>
                <a:spLocks/>
              </p:cNvSpPr>
              <p:nvPr/>
            </p:nvSpPr>
            <p:spPr bwMode="auto">
              <a:xfrm>
                <a:off x="7471" y="8701"/>
                <a:ext cx="175" cy="87"/>
              </a:xfrm>
              <a:custGeom>
                <a:avLst/>
                <a:gdLst>
                  <a:gd name="T0" fmla="*/ 22 w 493"/>
                  <a:gd name="T1" fmla="*/ 0 h 291"/>
                  <a:gd name="T2" fmla="*/ 9 w 493"/>
                  <a:gd name="T3" fmla="*/ 8 h 291"/>
                  <a:gd name="T4" fmla="*/ 0 w 493"/>
                  <a:gd name="T5" fmla="*/ 8 h 291"/>
                  <a:gd name="T6" fmla="*/ 0 w 493"/>
                  <a:gd name="T7" fmla="*/ 5 h 291"/>
                  <a:gd name="T8" fmla="*/ 11 w 493"/>
                  <a:gd name="T9" fmla="*/ 0 h 291"/>
                  <a:gd name="T10" fmla="*/ 22 w 493"/>
                  <a:gd name="T11" fmla="*/ 0 h 291"/>
                  <a:gd name="T12" fmla="*/ 0 60000 65536"/>
                  <a:gd name="T13" fmla="*/ 0 60000 65536"/>
                  <a:gd name="T14" fmla="*/ 0 60000 65536"/>
                  <a:gd name="T15" fmla="*/ 0 60000 65536"/>
                  <a:gd name="T16" fmla="*/ 0 60000 65536"/>
                  <a:gd name="T17" fmla="*/ 0 60000 65536"/>
                  <a:gd name="T18" fmla="*/ 0 w 493"/>
                  <a:gd name="T19" fmla="*/ 0 h 291"/>
                  <a:gd name="T20" fmla="*/ 493 w 493"/>
                  <a:gd name="T21" fmla="*/ 291 h 291"/>
                </a:gdLst>
                <a:ahLst/>
                <a:cxnLst>
                  <a:cxn ang="T12">
                    <a:pos x="T0" y="T1"/>
                  </a:cxn>
                  <a:cxn ang="T13">
                    <a:pos x="T2" y="T3"/>
                  </a:cxn>
                  <a:cxn ang="T14">
                    <a:pos x="T4" y="T5"/>
                  </a:cxn>
                  <a:cxn ang="T15">
                    <a:pos x="T6" y="T7"/>
                  </a:cxn>
                  <a:cxn ang="T16">
                    <a:pos x="T8" y="T9"/>
                  </a:cxn>
                  <a:cxn ang="T17">
                    <a:pos x="T10" y="T11"/>
                  </a:cxn>
                </a:cxnLst>
                <a:rect l="T18" t="T19" r="T20" b="T21"/>
                <a:pathLst>
                  <a:path w="493" h="291">
                    <a:moveTo>
                      <a:pt x="493" y="0"/>
                    </a:moveTo>
                    <a:lnTo>
                      <a:pt x="202" y="291"/>
                    </a:lnTo>
                    <a:lnTo>
                      <a:pt x="0" y="291"/>
                    </a:lnTo>
                    <a:lnTo>
                      <a:pt x="0" y="205"/>
                    </a:lnTo>
                    <a:lnTo>
                      <a:pt x="236" y="3"/>
                    </a:lnTo>
                    <a:lnTo>
                      <a:pt x="493" y="0"/>
                    </a:lnTo>
                    <a:close/>
                  </a:path>
                </a:pathLst>
              </a:custGeom>
              <a:solidFill>
                <a:srgbClr val="141616"/>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5013" name="Rectangle 390"/>
              <p:cNvSpPr>
                <a:spLocks noChangeArrowheads="1"/>
              </p:cNvSpPr>
              <p:nvPr/>
            </p:nvSpPr>
            <p:spPr bwMode="auto">
              <a:xfrm>
                <a:off x="7358" y="8830"/>
                <a:ext cx="63" cy="30"/>
              </a:xfrm>
              <a:prstGeom prst="rect">
                <a:avLst/>
              </a:prstGeom>
              <a:solidFill>
                <a:srgbClr val="141616"/>
              </a:solidFill>
              <a:ln w="9525">
                <a:no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5014" name="Freeform 391"/>
              <p:cNvSpPr>
                <a:spLocks/>
              </p:cNvSpPr>
              <p:nvPr/>
            </p:nvSpPr>
            <p:spPr bwMode="auto">
              <a:xfrm>
                <a:off x="7333" y="8874"/>
                <a:ext cx="91" cy="28"/>
              </a:xfrm>
              <a:custGeom>
                <a:avLst/>
                <a:gdLst>
                  <a:gd name="T0" fmla="*/ 0 w 255"/>
                  <a:gd name="T1" fmla="*/ 2 h 94"/>
                  <a:gd name="T2" fmla="*/ 11 w 255"/>
                  <a:gd name="T3" fmla="*/ 2 h 94"/>
                  <a:gd name="T4" fmla="*/ 11 w 255"/>
                  <a:gd name="T5" fmla="*/ 0 h 94"/>
                  <a:gd name="T6" fmla="*/ 2 w 255"/>
                  <a:gd name="T7" fmla="*/ 0 h 94"/>
                  <a:gd name="T8" fmla="*/ 0 w 255"/>
                  <a:gd name="T9" fmla="*/ 1 h 94"/>
                  <a:gd name="T10" fmla="*/ 0 w 255"/>
                  <a:gd name="T11" fmla="*/ 2 h 94"/>
                  <a:gd name="T12" fmla="*/ 0 60000 65536"/>
                  <a:gd name="T13" fmla="*/ 0 60000 65536"/>
                  <a:gd name="T14" fmla="*/ 0 60000 65536"/>
                  <a:gd name="T15" fmla="*/ 0 60000 65536"/>
                  <a:gd name="T16" fmla="*/ 0 60000 65536"/>
                  <a:gd name="T17" fmla="*/ 0 60000 65536"/>
                  <a:gd name="T18" fmla="*/ 0 w 255"/>
                  <a:gd name="T19" fmla="*/ 0 h 94"/>
                  <a:gd name="T20" fmla="*/ 255 w 255"/>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255" h="94">
                    <a:moveTo>
                      <a:pt x="0" y="94"/>
                    </a:moveTo>
                    <a:lnTo>
                      <a:pt x="236" y="94"/>
                    </a:lnTo>
                    <a:lnTo>
                      <a:pt x="255" y="0"/>
                    </a:lnTo>
                    <a:lnTo>
                      <a:pt x="40" y="0"/>
                    </a:lnTo>
                    <a:lnTo>
                      <a:pt x="7" y="58"/>
                    </a:lnTo>
                    <a:lnTo>
                      <a:pt x="0" y="94"/>
                    </a:lnTo>
                    <a:close/>
                  </a:path>
                </a:pathLst>
              </a:custGeom>
              <a:solidFill>
                <a:srgbClr val="141616"/>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grpSp>
            <p:nvGrpSpPr>
              <p:cNvPr id="18" name="Group 392"/>
              <p:cNvGrpSpPr>
                <a:grpSpLocks/>
              </p:cNvGrpSpPr>
              <p:nvPr/>
            </p:nvGrpSpPr>
            <p:grpSpPr bwMode="auto">
              <a:xfrm>
                <a:off x="7482" y="9672"/>
                <a:ext cx="226" cy="369"/>
                <a:chOff x="23151" y="12236"/>
                <a:chExt cx="239" cy="391"/>
              </a:xfrm>
            </p:grpSpPr>
            <p:sp>
              <p:nvSpPr>
                <p:cNvPr id="25016" name="Freeform 393"/>
                <p:cNvSpPr>
                  <a:spLocks/>
                </p:cNvSpPr>
                <p:nvPr/>
              </p:nvSpPr>
              <p:spPr bwMode="auto">
                <a:xfrm>
                  <a:off x="23152" y="12428"/>
                  <a:ext cx="238" cy="199"/>
                </a:xfrm>
                <a:custGeom>
                  <a:avLst/>
                  <a:gdLst>
                    <a:gd name="T0" fmla="*/ 31 w 238"/>
                    <a:gd name="T1" fmla="*/ 0 h 199"/>
                    <a:gd name="T2" fmla="*/ 199 w 238"/>
                    <a:gd name="T3" fmla="*/ 0 h 199"/>
                    <a:gd name="T4" fmla="*/ 238 w 238"/>
                    <a:gd name="T5" fmla="*/ 199 h 199"/>
                    <a:gd name="T6" fmla="*/ 0 w 238"/>
                    <a:gd name="T7" fmla="*/ 196 h 199"/>
                    <a:gd name="T8" fmla="*/ 31 w 238"/>
                    <a:gd name="T9" fmla="*/ 0 h 199"/>
                    <a:gd name="T10" fmla="*/ 0 60000 65536"/>
                    <a:gd name="T11" fmla="*/ 0 60000 65536"/>
                    <a:gd name="T12" fmla="*/ 0 60000 65536"/>
                    <a:gd name="T13" fmla="*/ 0 60000 65536"/>
                    <a:gd name="T14" fmla="*/ 0 60000 65536"/>
                    <a:gd name="T15" fmla="*/ 0 w 238"/>
                    <a:gd name="T16" fmla="*/ 0 h 199"/>
                    <a:gd name="T17" fmla="*/ 238 w 238"/>
                    <a:gd name="T18" fmla="*/ 199 h 199"/>
                  </a:gdLst>
                  <a:ahLst/>
                  <a:cxnLst>
                    <a:cxn ang="T10">
                      <a:pos x="T0" y="T1"/>
                    </a:cxn>
                    <a:cxn ang="T11">
                      <a:pos x="T2" y="T3"/>
                    </a:cxn>
                    <a:cxn ang="T12">
                      <a:pos x="T4" y="T5"/>
                    </a:cxn>
                    <a:cxn ang="T13">
                      <a:pos x="T6" y="T7"/>
                    </a:cxn>
                    <a:cxn ang="T14">
                      <a:pos x="T8" y="T9"/>
                    </a:cxn>
                  </a:cxnLst>
                  <a:rect l="T15" t="T16" r="T17" b="T18"/>
                  <a:pathLst>
                    <a:path w="238" h="199">
                      <a:moveTo>
                        <a:pt x="31" y="0"/>
                      </a:moveTo>
                      <a:lnTo>
                        <a:pt x="199" y="0"/>
                      </a:lnTo>
                      <a:lnTo>
                        <a:pt x="238" y="199"/>
                      </a:lnTo>
                      <a:lnTo>
                        <a:pt x="0" y="196"/>
                      </a:lnTo>
                      <a:lnTo>
                        <a:pt x="31" y="0"/>
                      </a:lnTo>
                      <a:close/>
                    </a:path>
                  </a:pathLst>
                </a:custGeom>
                <a:solidFill>
                  <a:srgbClr val="FFFFFF"/>
                </a:solidFill>
                <a:ln w="12700">
                  <a:solidFill>
                    <a:schemeClr val="accent1"/>
                  </a:solidFill>
                  <a:round/>
                  <a:headEnd/>
                  <a:tailEnd/>
                </a:ln>
              </p:spPr>
              <p:txBody>
                <a:bodyPr wrap="none" anchor="ctr"/>
                <a:lstStyle/>
                <a:p>
                  <a:pPr fontAlgn="base">
                    <a:spcBef>
                      <a:spcPct val="0"/>
                    </a:spcBef>
                    <a:spcAft>
                      <a:spcPct val="0"/>
                    </a:spcAft>
                  </a:pPr>
                  <a:endParaRPr lang="en-US" sz="1400" b="1" dirty="0">
                    <a:solidFill>
                      <a:srgbClr val="000000"/>
                    </a:solidFill>
                  </a:endParaRPr>
                </a:p>
              </p:txBody>
            </p:sp>
            <p:sp>
              <p:nvSpPr>
                <p:cNvPr id="25017" name="AutoShape 394"/>
                <p:cNvSpPr>
                  <a:spLocks noChangeArrowheads="1"/>
                </p:cNvSpPr>
                <p:nvPr/>
              </p:nvSpPr>
              <p:spPr bwMode="auto">
                <a:xfrm>
                  <a:off x="23175" y="12407"/>
                  <a:ext cx="186" cy="31"/>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18" name="AutoShape 395"/>
                <p:cNvSpPr>
                  <a:spLocks noChangeArrowheads="1"/>
                </p:cNvSpPr>
                <p:nvPr/>
              </p:nvSpPr>
              <p:spPr bwMode="auto">
                <a:xfrm>
                  <a:off x="23184" y="12290"/>
                  <a:ext cx="168" cy="117"/>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19" name="Arc 396"/>
                <p:cNvSpPr>
                  <a:spLocks/>
                </p:cNvSpPr>
                <p:nvPr/>
              </p:nvSpPr>
              <p:spPr bwMode="auto">
                <a:xfrm>
                  <a:off x="23151" y="12236"/>
                  <a:ext cx="229" cy="63"/>
                </a:xfrm>
                <a:custGeom>
                  <a:avLst/>
                  <a:gdLst>
                    <a:gd name="T0" fmla="*/ 0 w 43197"/>
                    <a:gd name="T1" fmla="*/ 0 h 21600"/>
                    <a:gd name="T2" fmla="*/ 0 w 43197"/>
                    <a:gd name="T3" fmla="*/ 0 h 21600"/>
                    <a:gd name="T4" fmla="*/ 0 w 43197"/>
                    <a:gd name="T5" fmla="*/ 0 h 21600"/>
                    <a:gd name="T6" fmla="*/ 0 60000 65536"/>
                    <a:gd name="T7" fmla="*/ 0 60000 65536"/>
                    <a:gd name="T8" fmla="*/ 0 60000 65536"/>
                    <a:gd name="T9" fmla="*/ 0 w 43197"/>
                    <a:gd name="T10" fmla="*/ 0 h 21600"/>
                    <a:gd name="T11" fmla="*/ 43197 w 43197"/>
                    <a:gd name="T12" fmla="*/ 21600 h 21600"/>
                  </a:gdLst>
                  <a:ahLst/>
                  <a:cxnLst>
                    <a:cxn ang="T6">
                      <a:pos x="T0" y="T1"/>
                    </a:cxn>
                    <a:cxn ang="T7">
                      <a:pos x="T2" y="T3"/>
                    </a:cxn>
                    <a:cxn ang="T8">
                      <a:pos x="T4" y="T5"/>
                    </a:cxn>
                  </a:cxnLst>
                  <a:rect l="T9" t="T10" r="T11" b="T12"/>
                  <a:pathLst>
                    <a:path w="43197" h="21600" fill="none" extrusionOk="0">
                      <a:moveTo>
                        <a:pt x="0" y="21600"/>
                      </a:moveTo>
                      <a:cubicBezTo>
                        <a:pt x="0" y="9670"/>
                        <a:pt x="9670" y="0"/>
                        <a:pt x="21600" y="0"/>
                      </a:cubicBezTo>
                      <a:cubicBezTo>
                        <a:pt x="33382" y="0"/>
                        <a:pt x="42991" y="9442"/>
                        <a:pt x="43196" y="21223"/>
                      </a:cubicBezTo>
                    </a:path>
                    <a:path w="43197" h="21600" stroke="0" extrusionOk="0">
                      <a:moveTo>
                        <a:pt x="0" y="21600"/>
                      </a:moveTo>
                      <a:cubicBezTo>
                        <a:pt x="0" y="9670"/>
                        <a:pt x="9670" y="0"/>
                        <a:pt x="21600" y="0"/>
                      </a:cubicBezTo>
                      <a:cubicBezTo>
                        <a:pt x="33382" y="0"/>
                        <a:pt x="42991" y="9442"/>
                        <a:pt x="43196" y="21223"/>
                      </a:cubicBezTo>
                      <a:lnTo>
                        <a:pt x="21600" y="21600"/>
                      </a:lnTo>
                      <a:close/>
                    </a:path>
                  </a:pathLst>
                </a:custGeom>
                <a:solidFill>
                  <a:srgbClr val="FFFFFF"/>
                </a:solidFill>
                <a:ln w="12700">
                  <a:solidFill>
                    <a:schemeClr val="accent1"/>
                  </a:solidFill>
                  <a:round/>
                  <a:headEnd/>
                  <a:tailEnd/>
                </a:ln>
              </p:spPr>
              <p:txBody>
                <a:bodyPr wrap="none" anchor="ctr"/>
                <a:lstStyle/>
                <a:p>
                  <a:pPr fontAlgn="base">
                    <a:spcBef>
                      <a:spcPct val="0"/>
                    </a:spcBef>
                    <a:spcAft>
                      <a:spcPct val="0"/>
                    </a:spcAft>
                  </a:pPr>
                  <a:endParaRPr lang="en-US" sz="1400" b="1" dirty="0">
                    <a:solidFill>
                      <a:srgbClr val="000000"/>
                    </a:solidFill>
                  </a:endParaRPr>
                </a:p>
              </p:txBody>
            </p:sp>
            <p:sp>
              <p:nvSpPr>
                <p:cNvPr id="25020" name="Freeform 397"/>
                <p:cNvSpPr>
                  <a:spLocks/>
                </p:cNvSpPr>
                <p:nvPr/>
              </p:nvSpPr>
              <p:spPr bwMode="auto">
                <a:xfrm>
                  <a:off x="23151" y="12300"/>
                  <a:ext cx="233" cy="1"/>
                </a:xfrm>
                <a:custGeom>
                  <a:avLst/>
                  <a:gdLst>
                    <a:gd name="T0" fmla="*/ 0 w 233"/>
                    <a:gd name="T1" fmla="*/ 0 h 1"/>
                    <a:gd name="T2" fmla="*/ 232 w 233"/>
                    <a:gd name="T3" fmla="*/ 0 h 1"/>
                    <a:gd name="T4" fmla="*/ 0 60000 65536"/>
                    <a:gd name="T5" fmla="*/ 0 60000 65536"/>
                    <a:gd name="T6" fmla="*/ 0 w 233"/>
                    <a:gd name="T7" fmla="*/ 0 h 1"/>
                    <a:gd name="T8" fmla="*/ 233 w 233"/>
                    <a:gd name="T9" fmla="*/ 1 h 1"/>
                  </a:gdLst>
                  <a:ahLst/>
                  <a:cxnLst>
                    <a:cxn ang="T4">
                      <a:pos x="T0" y="T1"/>
                    </a:cxn>
                    <a:cxn ang="T5">
                      <a:pos x="T2" y="T3"/>
                    </a:cxn>
                  </a:cxnLst>
                  <a:rect l="T6" t="T7" r="T8" b="T9"/>
                  <a:pathLst>
                    <a:path w="233" h="1">
                      <a:moveTo>
                        <a:pt x="0" y="0"/>
                      </a:moveTo>
                      <a:lnTo>
                        <a:pt x="232" y="0"/>
                      </a:lnTo>
                    </a:path>
                  </a:pathLst>
                </a:custGeom>
                <a:noFill/>
                <a:ln w="12700">
                  <a:solidFill>
                    <a:schemeClr val="accent1"/>
                  </a:solidFill>
                  <a:round/>
                  <a:headEnd type="none" w="med" len="med"/>
                  <a:tailEnd type="none" w="med" len="med"/>
                </a:ln>
              </p:spPr>
              <p:txBody>
                <a:bodyPr wrap="none" anchor="ctr"/>
                <a:lstStyle/>
                <a:p>
                  <a:pPr fontAlgn="base">
                    <a:spcBef>
                      <a:spcPct val="0"/>
                    </a:spcBef>
                    <a:spcAft>
                      <a:spcPct val="0"/>
                    </a:spcAft>
                  </a:pPr>
                  <a:endParaRPr lang="en-US" sz="1400" b="1" dirty="0">
                    <a:solidFill>
                      <a:srgbClr val="000000"/>
                    </a:solidFill>
                  </a:endParaRPr>
                </a:p>
              </p:txBody>
            </p:sp>
            <p:sp>
              <p:nvSpPr>
                <p:cNvPr id="25021" name="AutoShape 398"/>
                <p:cNvSpPr>
                  <a:spLocks noChangeArrowheads="1"/>
                </p:cNvSpPr>
                <p:nvPr/>
              </p:nvSpPr>
              <p:spPr bwMode="auto">
                <a:xfrm>
                  <a:off x="23208" y="12308"/>
                  <a:ext cx="39" cy="76"/>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22" name="AutoShape 399"/>
                <p:cNvSpPr>
                  <a:spLocks noChangeArrowheads="1"/>
                </p:cNvSpPr>
                <p:nvPr/>
              </p:nvSpPr>
              <p:spPr bwMode="auto">
                <a:xfrm>
                  <a:off x="23256" y="12308"/>
                  <a:ext cx="38" cy="76"/>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sp>
              <p:nvSpPr>
                <p:cNvPr id="25023" name="AutoShape 400"/>
                <p:cNvSpPr>
                  <a:spLocks noChangeArrowheads="1"/>
                </p:cNvSpPr>
                <p:nvPr/>
              </p:nvSpPr>
              <p:spPr bwMode="auto">
                <a:xfrm>
                  <a:off x="23304" y="12308"/>
                  <a:ext cx="38" cy="76"/>
                </a:xfrm>
                <a:prstGeom prst="roundRect">
                  <a:avLst>
                    <a:gd name="adj" fmla="val 0"/>
                  </a:avLst>
                </a:prstGeom>
                <a:solidFill>
                  <a:srgbClr val="FFFFFF"/>
                </a:solidFill>
                <a:ln w="12700">
                  <a:solidFill>
                    <a:schemeClr val="accent1"/>
                  </a:solidFill>
                  <a:round/>
                  <a:headEnd/>
                  <a:tailEnd/>
                </a:ln>
              </p:spPr>
              <p:txBody>
                <a:bodyPr wrap="none" anchor="ctr"/>
                <a:lstStyle/>
                <a:p>
                  <a:pPr algn="ctr" fontAlgn="base">
                    <a:spcBef>
                      <a:spcPct val="0"/>
                    </a:spcBef>
                    <a:spcAft>
                      <a:spcPct val="0"/>
                    </a:spcAft>
                  </a:pPr>
                  <a:endParaRPr lang="en-US" dirty="0">
                    <a:solidFill>
                      <a:srgbClr val="000000"/>
                    </a:solidFill>
                  </a:endParaRPr>
                </a:p>
              </p:txBody>
            </p:sp>
          </p:grpSp>
        </p:grpSp>
        <p:sp>
          <p:nvSpPr>
            <p:cNvPr id="24609" name="Freeform 401"/>
            <p:cNvSpPr>
              <a:spLocks/>
            </p:cNvSpPr>
            <p:nvPr>
              <p:custDataLst>
                <p:tags r:id="rId54"/>
              </p:custDataLst>
            </p:nvPr>
          </p:nvSpPr>
          <p:spPr bwMode="auto">
            <a:xfrm>
              <a:off x="1465263" y="1819275"/>
              <a:ext cx="187325" cy="185738"/>
            </a:xfrm>
            <a:custGeom>
              <a:avLst/>
              <a:gdLst>
                <a:gd name="T0" fmla="*/ 0 w 625"/>
                <a:gd name="T1" fmla="*/ 0 h 375"/>
                <a:gd name="T2" fmla="*/ 2147483647 w 625"/>
                <a:gd name="T3" fmla="*/ 2147483647 h 375"/>
                <a:gd name="T4" fmla="*/ 2147483647 w 625"/>
                <a:gd name="T5" fmla="*/ 2147483647 h 375"/>
                <a:gd name="T6" fmla="*/ 2147483647 w 625"/>
                <a:gd name="T7" fmla="*/ 2147483647 h 375"/>
                <a:gd name="T8" fmla="*/ 2147483647 w 625"/>
                <a:gd name="T9" fmla="*/ 2147483647 h 375"/>
                <a:gd name="T10" fmla="*/ 2147483647 w 625"/>
                <a:gd name="T11" fmla="*/ 2147483647 h 375"/>
                <a:gd name="T12" fmla="*/ 0 60000 65536"/>
                <a:gd name="T13" fmla="*/ 0 60000 65536"/>
                <a:gd name="T14" fmla="*/ 0 60000 65536"/>
                <a:gd name="T15" fmla="*/ 0 60000 65536"/>
                <a:gd name="T16" fmla="*/ 0 60000 65536"/>
                <a:gd name="T17" fmla="*/ 0 60000 65536"/>
                <a:gd name="T18" fmla="*/ 0 w 625"/>
                <a:gd name="T19" fmla="*/ 0 h 375"/>
                <a:gd name="T20" fmla="*/ 625 w 625"/>
                <a:gd name="T21" fmla="*/ 375 h 375"/>
              </a:gdLst>
              <a:ahLst/>
              <a:cxnLst>
                <a:cxn ang="T12">
                  <a:pos x="T0" y="T1"/>
                </a:cxn>
                <a:cxn ang="T13">
                  <a:pos x="T2" y="T3"/>
                </a:cxn>
                <a:cxn ang="T14">
                  <a:pos x="T4" y="T5"/>
                </a:cxn>
                <a:cxn ang="T15">
                  <a:pos x="T6" y="T7"/>
                </a:cxn>
                <a:cxn ang="T16">
                  <a:pos x="T8" y="T9"/>
                </a:cxn>
                <a:cxn ang="T17">
                  <a:pos x="T10" y="T11"/>
                </a:cxn>
              </a:cxnLst>
              <a:rect l="T18" t="T19" r="T20" b="T21"/>
              <a:pathLst>
                <a:path w="625" h="375">
                  <a:moveTo>
                    <a:pt x="0" y="0"/>
                  </a:moveTo>
                  <a:cubicBezTo>
                    <a:pt x="147" y="97"/>
                    <a:pt x="295" y="375"/>
                    <a:pt x="446" y="284"/>
                  </a:cubicBezTo>
                  <a:cubicBezTo>
                    <a:pt x="447" y="283"/>
                    <a:pt x="449" y="282"/>
                    <a:pt x="450" y="282"/>
                  </a:cubicBezTo>
                  <a:cubicBezTo>
                    <a:pt x="453" y="281"/>
                    <a:pt x="455" y="281"/>
                    <a:pt x="458" y="281"/>
                  </a:cubicBezTo>
                  <a:cubicBezTo>
                    <a:pt x="497" y="268"/>
                    <a:pt x="546" y="279"/>
                    <a:pt x="588" y="276"/>
                  </a:cubicBezTo>
                  <a:cubicBezTo>
                    <a:pt x="594" y="275"/>
                    <a:pt x="625" y="273"/>
                    <a:pt x="611" y="273"/>
                  </a:cubicBezTo>
                </a:path>
              </a:pathLst>
            </a:custGeom>
            <a:noFill/>
            <a:ln w="38100" cmpd="sng">
              <a:solidFill>
                <a:schemeClr val="accent1"/>
              </a:solidFill>
              <a:round/>
              <a:headEnd/>
              <a:tailEnd/>
            </a:ln>
          </p:spPr>
          <p:txBody>
            <a:bodyPr/>
            <a:lstStyle/>
            <a:p>
              <a:pPr fontAlgn="base">
                <a:spcBef>
                  <a:spcPct val="0"/>
                </a:spcBef>
                <a:spcAft>
                  <a:spcPct val="0"/>
                </a:spcAft>
              </a:pPr>
              <a:endParaRPr lang="en-US" sz="1400" b="1" dirty="0">
                <a:solidFill>
                  <a:srgbClr val="000000"/>
                </a:solidFill>
              </a:endParaRPr>
            </a:p>
          </p:txBody>
        </p:sp>
        <p:grpSp>
          <p:nvGrpSpPr>
            <p:cNvPr id="19" name="Group 402"/>
            <p:cNvGrpSpPr>
              <a:grpSpLocks/>
            </p:cNvGrpSpPr>
            <p:nvPr>
              <p:custDataLst>
                <p:tags r:id="rId55"/>
              </p:custDataLst>
            </p:nvPr>
          </p:nvGrpSpPr>
          <p:grpSpPr bwMode="auto">
            <a:xfrm flipH="1">
              <a:off x="444500" y="5307013"/>
              <a:ext cx="1068388" cy="585787"/>
              <a:chOff x="0" y="3329"/>
              <a:chExt cx="3332" cy="1367"/>
            </a:xfrm>
          </p:grpSpPr>
          <p:grpSp>
            <p:nvGrpSpPr>
              <p:cNvPr id="20" name="Group 403"/>
              <p:cNvGrpSpPr>
                <a:grpSpLocks/>
              </p:cNvGrpSpPr>
              <p:nvPr/>
            </p:nvGrpSpPr>
            <p:grpSpPr bwMode="auto">
              <a:xfrm flipH="1">
                <a:off x="0" y="3329"/>
                <a:ext cx="3332" cy="1367"/>
                <a:chOff x="1047" y="1902"/>
                <a:chExt cx="2780" cy="1140"/>
              </a:xfrm>
            </p:grpSpPr>
            <p:sp>
              <p:nvSpPr>
                <p:cNvPr id="24953" name="AutoShape 404"/>
                <p:cNvSpPr>
                  <a:spLocks noChangeAspect="1" noChangeArrowheads="1" noTextEdit="1"/>
                </p:cNvSpPr>
                <p:nvPr/>
              </p:nvSpPr>
              <p:spPr bwMode="auto">
                <a:xfrm>
                  <a:off x="1053" y="1902"/>
                  <a:ext cx="2774" cy="1140"/>
                </a:xfrm>
                <a:prstGeom prst="rect">
                  <a:avLst/>
                </a:prstGeom>
                <a:noFill/>
                <a:ln w="9525">
                  <a:noFill/>
                  <a:miter lim="800000"/>
                  <a:headEnd/>
                  <a:tailEnd/>
                </a:ln>
              </p:spPr>
              <p:txBody>
                <a:bodyPr/>
                <a:lstStyle/>
                <a:p>
                  <a:pPr fontAlgn="base">
                    <a:spcBef>
                      <a:spcPct val="0"/>
                    </a:spcBef>
                    <a:spcAft>
                      <a:spcPct val="0"/>
                    </a:spcAft>
                  </a:pPr>
                  <a:endParaRPr lang="en-US" sz="1400" b="1" dirty="0">
                    <a:solidFill>
                      <a:srgbClr val="000000"/>
                    </a:solidFill>
                  </a:endParaRPr>
                </a:p>
              </p:txBody>
            </p:sp>
            <p:sp>
              <p:nvSpPr>
                <p:cNvPr id="24954" name="Freeform 405"/>
                <p:cNvSpPr>
                  <a:spLocks/>
                </p:cNvSpPr>
                <p:nvPr/>
              </p:nvSpPr>
              <p:spPr bwMode="auto">
                <a:xfrm>
                  <a:off x="1047" y="1949"/>
                  <a:ext cx="2697" cy="864"/>
                </a:xfrm>
                <a:custGeom>
                  <a:avLst/>
                  <a:gdLst>
                    <a:gd name="T0" fmla="*/ 0 w 13482"/>
                    <a:gd name="T1" fmla="*/ 18 h 4320"/>
                    <a:gd name="T2" fmla="*/ 3 w 13482"/>
                    <a:gd name="T3" fmla="*/ 23 h 4320"/>
                    <a:gd name="T4" fmla="*/ 7 w 13482"/>
                    <a:gd name="T5" fmla="*/ 29 h 4320"/>
                    <a:gd name="T6" fmla="*/ 12 w 13482"/>
                    <a:gd name="T7" fmla="*/ 34 h 4320"/>
                    <a:gd name="T8" fmla="*/ 22 w 13482"/>
                    <a:gd name="T9" fmla="*/ 35 h 4320"/>
                    <a:gd name="T10" fmla="*/ 48 w 13482"/>
                    <a:gd name="T11" fmla="*/ 34 h 4320"/>
                    <a:gd name="T12" fmla="*/ 80 w 13482"/>
                    <a:gd name="T13" fmla="*/ 34 h 4320"/>
                    <a:gd name="T14" fmla="*/ 104 w 13482"/>
                    <a:gd name="T15" fmla="*/ 34 h 4320"/>
                    <a:gd name="T16" fmla="*/ 108 w 13482"/>
                    <a:gd name="T17" fmla="*/ 25 h 4320"/>
                    <a:gd name="T18" fmla="*/ 107 w 13482"/>
                    <a:gd name="T19" fmla="*/ 19 h 4320"/>
                    <a:gd name="T20" fmla="*/ 106 w 13482"/>
                    <a:gd name="T21" fmla="*/ 14 h 4320"/>
                    <a:gd name="T22" fmla="*/ 101 w 13482"/>
                    <a:gd name="T23" fmla="*/ 10 h 4320"/>
                    <a:gd name="T24" fmla="*/ 100 w 13482"/>
                    <a:gd name="T25" fmla="*/ 0 h 4320"/>
                    <a:gd name="T26" fmla="*/ 99 w 13482"/>
                    <a:gd name="T27" fmla="*/ 0 h 4320"/>
                    <a:gd name="T28" fmla="*/ 99 w 13482"/>
                    <a:gd name="T29" fmla="*/ 3 h 4320"/>
                    <a:gd name="T30" fmla="*/ 99 w 13482"/>
                    <a:gd name="T31" fmla="*/ 6 h 4320"/>
                    <a:gd name="T32" fmla="*/ 99 w 13482"/>
                    <a:gd name="T33" fmla="*/ 9 h 4320"/>
                    <a:gd name="T34" fmla="*/ 99 w 13482"/>
                    <a:gd name="T35" fmla="*/ 9 h 4320"/>
                    <a:gd name="T36" fmla="*/ 99 w 13482"/>
                    <a:gd name="T37" fmla="*/ 10 h 4320"/>
                    <a:gd name="T38" fmla="*/ 98 w 13482"/>
                    <a:gd name="T39" fmla="*/ 10 h 4320"/>
                    <a:gd name="T40" fmla="*/ 97 w 13482"/>
                    <a:gd name="T41" fmla="*/ 10 h 4320"/>
                    <a:gd name="T42" fmla="*/ 97 w 13482"/>
                    <a:gd name="T43" fmla="*/ 13 h 4320"/>
                    <a:gd name="T44" fmla="*/ 94 w 13482"/>
                    <a:gd name="T45" fmla="*/ 17 h 4320"/>
                    <a:gd name="T46" fmla="*/ 95 w 13482"/>
                    <a:gd name="T47" fmla="*/ 22 h 4320"/>
                    <a:gd name="T48" fmla="*/ 89 w 13482"/>
                    <a:gd name="T49" fmla="*/ 17 h 4320"/>
                    <a:gd name="T50" fmla="*/ 17 w 13482"/>
                    <a:gd name="T51" fmla="*/ 10 h 4320"/>
                    <a:gd name="T52" fmla="*/ 13 w 13482"/>
                    <a:gd name="T53" fmla="*/ 16 h 4320"/>
                    <a:gd name="T54" fmla="*/ 10 w 13482"/>
                    <a:gd name="T55" fmla="*/ 13 h 4320"/>
                    <a:gd name="T56" fmla="*/ 9 w 13482"/>
                    <a:gd name="T57" fmla="*/ 16 h 4320"/>
                    <a:gd name="T58" fmla="*/ 7 w 13482"/>
                    <a:gd name="T59" fmla="*/ 16 h 4320"/>
                    <a:gd name="T60" fmla="*/ 4 w 13482"/>
                    <a:gd name="T61" fmla="*/ 17 h 4320"/>
                    <a:gd name="T62" fmla="*/ 1 w 13482"/>
                    <a:gd name="T63" fmla="*/ 17 h 432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482"/>
                    <a:gd name="T97" fmla="*/ 0 h 4320"/>
                    <a:gd name="T98" fmla="*/ 13482 w 13482"/>
                    <a:gd name="T99" fmla="*/ 4320 h 432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482" h="4320">
                      <a:moveTo>
                        <a:pt x="0" y="2194"/>
                      </a:moveTo>
                      <a:lnTo>
                        <a:pt x="38" y="2282"/>
                      </a:lnTo>
                      <a:lnTo>
                        <a:pt x="156" y="2519"/>
                      </a:lnTo>
                      <a:lnTo>
                        <a:pt x="343" y="2857"/>
                      </a:lnTo>
                      <a:lnTo>
                        <a:pt x="586" y="3247"/>
                      </a:lnTo>
                      <a:lnTo>
                        <a:pt x="873" y="3635"/>
                      </a:lnTo>
                      <a:lnTo>
                        <a:pt x="1203" y="3973"/>
                      </a:lnTo>
                      <a:lnTo>
                        <a:pt x="1554" y="4215"/>
                      </a:lnTo>
                      <a:lnTo>
                        <a:pt x="1929" y="4320"/>
                      </a:lnTo>
                      <a:lnTo>
                        <a:pt x="2706" y="4316"/>
                      </a:lnTo>
                      <a:lnTo>
                        <a:pt x="4141" y="4311"/>
                      </a:lnTo>
                      <a:lnTo>
                        <a:pt x="5996" y="4298"/>
                      </a:lnTo>
                      <a:lnTo>
                        <a:pt x="8044" y="4288"/>
                      </a:lnTo>
                      <a:lnTo>
                        <a:pt x="10036" y="4274"/>
                      </a:lnTo>
                      <a:lnTo>
                        <a:pt x="11755" y="4261"/>
                      </a:lnTo>
                      <a:lnTo>
                        <a:pt x="12956" y="4252"/>
                      </a:lnTo>
                      <a:lnTo>
                        <a:pt x="13414" y="4252"/>
                      </a:lnTo>
                      <a:lnTo>
                        <a:pt x="13482" y="3177"/>
                      </a:lnTo>
                      <a:lnTo>
                        <a:pt x="13332" y="3072"/>
                      </a:lnTo>
                      <a:lnTo>
                        <a:pt x="13354" y="2323"/>
                      </a:lnTo>
                      <a:lnTo>
                        <a:pt x="13203" y="2172"/>
                      </a:lnTo>
                      <a:lnTo>
                        <a:pt x="13181" y="1756"/>
                      </a:lnTo>
                      <a:lnTo>
                        <a:pt x="12673" y="1664"/>
                      </a:lnTo>
                      <a:lnTo>
                        <a:pt x="12651" y="1248"/>
                      </a:lnTo>
                      <a:lnTo>
                        <a:pt x="12486" y="1203"/>
                      </a:lnTo>
                      <a:lnTo>
                        <a:pt x="12440" y="0"/>
                      </a:lnTo>
                      <a:lnTo>
                        <a:pt x="12418" y="10"/>
                      </a:lnTo>
                      <a:lnTo>
                        <a:pt x="12418" y="51"/>
                      </a:lnTo>
                      <a:lnTo>
                        <a:pt x="12418" y="179"/>
                      </a:lnTo>
                      <a:lnTo>
                        <a:pt x="12418" y="352"/>
                      </a:lnTo>
                      <a:lnTo>
                        <a:pt x="12422" y="558"/>
                      </a:lnTo>
                      <a:lnTo>
                        <a:pt x="12422" y="764"/>
                      </a:lnTo>
                      <a:lnTo>
                        <a:pt x="12426" y="952"/>
                      </a:lnTo>
                      <a:lnTo>
                        <a:pt x="12426" y="1093"/>
                      </a:lnTo>
                      <a:lnTo>
                        <a:pt x="12431" y="1166"/>
                      </a:lnTo>
                      <a:lnTo>
                        <a:pt x="12412" y="1180"/>
                      </a:lnTo>
                      <a:lnTo>
                        <a:pt x="12376" y="1198"/>
                      </a:lnTo>
                      <a:lnTo>
                        <a:pt x="12326" y="1208"/>
                      </a:lnTo>
                      <a:lnTo>
                        <a:pt x="12267" y="1216"/>
                      </a:lnTo>
                      <a:lnTo>
                        <a:pt x="12203" y="1216"/>
                      </a:lnTo>
                      <a:lnTo>
                        <a:pt x="12153" y="1221"/>
                      </a:lnTo>
                      <a:lnTo>
                        <a:pt x="12115" y="1221"/>
                      </a:lnTo>
                      <a:lnTo>
                        <a:pt x="12107" y="1226"/>
                      </a:lnTo>
                      <a:lnTo>
                        <a:pt x="12129" y="1628"/>
                      </a:lnTo>
                      <a:lnTo>
                        <a:pt x="11759" y="1688"/>
                      </a:lnTo>
                      <a:lnTo>
                        <a:pt x="11713" y="2158"/>
                      </a:lnTo>
                      <a:lnTo>
                        <a:pt x="11850" y="2323"/>
                      </a:lnTo>
                      <a:lnTo>
                        <a:pt x="11805" y="2716"/>
                      </a:lnTo>
                      <a:lnTo>
                        <a:pt x="11169" y="2642"/>
                      </a:lnTo>
                      <a:lnTo>
                        <a:pt x="11137" y="2090"/>
                      </a:lnTo>
                      <a:lnTo>
                        <a:pt x="4114" y="864"/>
                      </a:lnTo>
                      <a:lnTo>
                        <a:pt x="2071" y="1212"/>
                      </a:lnTo>
                      <a:lnTo>
                        <a:pt x="2034" y="1999"/>
                      </a:lnTo>
                      <a:lnTo>
                        <a:pt x="1609" y="1999"/>
                      </a:lnTo>
                      <a:lnTo>
                        <a:pt x="1482" y="1674"/>
                      </a:lnTo>
                      <a:lnTo>
                        <a:pt x="1293" y="1674"/>
                      </a:lnTo>
                      <a:lnTo>
                        <a:pt x="1125" y="2030"/>
                      </a:lnTo>
                      <a:lnTo>
                        <a:pt x="1088" y="2030"/>
                      </a:lnTo>
                      <a:lnTo>
                        <a:pt x="992" y="2035"/>
                      </a:lnTo>
                      <a:lnTo>
                        <a:pt x="851" y="2044"/>
                      </a:lnTo>
                      <a:lnTo>
                        <a:pt x="681" y="2062"/>
                      </a:lnTo>
                      <a:lnTo>
                        <a:pt x="494" y="2080"/>
                      </a:lnTo>
                      <a:lnTo>
                        <a:pt x="311" y="2112"/>
                      </a:lnTo>
                      <a:lnTo>
                        <a:pt x="138" y="2149"/>
                      </a:lnTo>
                      <a:lnTo>
                        <a:pt x="0" y="2194"/>
                      </a:lnTo>
                      <a:close/>
                    </a:path>
                  </a:pathLst>
                </a:custGeom>
                <a:solidFill>
                  <a:srgbClr val="DDDDDD"/>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55" name="Freeform 406"/>
                <p:cNvSpPr>
                  <a:spLocks/>
                </p:cNvSpPr>
                <p:nvPr/>
              </p:nvSpPr>
              <p:spPr bwMode="auto">
                <a:xfrm>
                  <a:off x="1087" y="2369"/>
                  <a:ext cx="2636" cy="421"/>
                </a:xfrm>
                <a:custGeom>
                  <a:avLst/>
                  <a:gdLst>
                    <a:gd name="T0" fmla="*/ 0 w 13180"/>
                    <a:gd name="T1" fmla="*/ 1 h 2102"/>
                    <a:gd name="T2" fmla="*/ 0 w 13180"/>
                    <a:gd name="T3" fmla="*/ 1 h 2102"/>
                    <a:gd name="T4" fmla="*/ 1 w 13180"/>
                    <a:gd name="T5" fmla="*/ 1 h 2102"/>
                    <a:gd name="T6" fmla="*/ 3 w 13180"/>
                    <a:gd name="T7" fmla="*/ 1 h 2102"/>
                    <a:gd name="T8" fmla="*/ 5 w 13180"/>
                    <a:gd name="T9" fmla="*/ 0 h 2102"/>
                    <a:gd name="T10" fmla="*/ 7 w 13180"/>
                    <a:gd name="T11" fmla="*/ 0 h 2102"/>
                    <a:gd name="T12" fmla="*/ 11 w 13180"/>
                    <a:gd name="T13" fmla="*/ 0 h 2102"/>
                    <a:gd name="T14" fmla="*/ 15 w 13180"/>
                    <a:gd name="T15" fmla="*/ 0 h 2102"/>
                    <a:gd name="T16" fmla="*/ 20 w 13180"/>
                    <a:gd name="T17" fmla="*/ 0 h 2102"/>
                    <a:gd name="T18" fmla="*/ 28 w 13180"/>
                    <a:gd name="T19" fmla="*/ 1 h 2102"/>
                    <a:gd name="T20" fmla="*/ 39 w 13180"/>
                    <a:gd name="T21" fmla="*/ 2 h 2102"/>
                    <a:gd name="T22" fmla="*/ 53 w 13180"/>
                    <a:gd name="T23" fmla="*/ 4 h 2102"/>
                    <a:gd name="T24" fmla="*/ 68 w 13180"/>
                    <a:gd name="T25" fmla="*/ 5 h 2102"/>
                    <a:gd name="T26" fmla="*/ 82 w 13180"/>
                    <a:gd name="T27" fmla="*/ 7 h 2102"/>
                    <a:gd name="T28" fmla="*/ 94 w 13180"/>
                    <a:gd name="T29" fmla="*/ 8 h 2102"/>
                    <a:gd name="T30" fmla="*/ 102 w 13180"/>
                    <a:gd name="T31" fmla="*/ 9 h 2102"/>
                    <a:gd name="T32" fmla="*/ 105 w 13180"/>
                    <a:gd name="T33" fmla="*/ 9 h 2102"/>
                    <a:gd name="T34" fmla="*/ 105 w 13180"/>
                    <a:gd name="T35" fmla="*/ 17 h 2102"/>
                    <a:gd name="T36" fmla="*/ 102 w 13180"/>
                    <a:gd name="T37" fmla="*/ 17 h 2102"/>
                    <a:gd name="T38" fmla="*/ 92 w 13180"/>
                    <a:gd name="T39" fmla="*/ 17 h 2102"/>
                    <a:gd name="T40" fmla="*/ 79 w 13180"/>
                    <a:gd name="T41" fmla="*/ 17 h 2102"/>
                    <a:gd name="T42" fmla="*/ 64 w 13180"/>
                    <a:gd name="T43" fmla="*/ 17 h 2102"/>
                    <a:gd name="T44" fmla="*/ 48 w 13180"/>
                    <a:gd name="T45" fmla="*/ 17 h 2102"/>
                    <a:gd name="T46" fmla="*/ 34 w 13180"/>
                    <a:gd name="T47" fmla="*/ 17 h 2102"/>
                    <a:gd name="T48" fmla="*/ 23 w 13180"/>
                    <a:gd name="T49" fmla="*/ 17 h 2102"/>
                    <a:gd name="T50" fmla="*/ 17 w 13180"/>
                    <a:gd name="T51" fmla="*/ 17 h 2102"/>
                    <a:gd name="T52" fmla="*/ 15 w 13180"/>
                    <a:gd name="T53" fmla="*/ 17 h 2102"/>
                    <a:gd name="T54" fmla="*/ 13 w 13180"/>
                    <a:gd name="T55" fmla="*/ 16 h 2102"/>
                    <a:gd name="T56" fmla="*/ 12 w 13180"/>
                    <a:gd name="T57" fmla="*/ 16 h 2102"/>
                    <a:gd name="T58" fmla="*/ 11 w 13180"/>
                    <a:gd name="T59" fmla="*/ 16 h 2102"/>
                    <a:gd name="T60" fmla="*/ 10 w 13180"/>
                    <a:gd name="T61" fmla="*/ 15 h 2102"/>
                    <a:gd name="T62" fmla="*/ 9 w 13180"/>
                    <a:gd name="T63" fmla="*/ 15 h 2102"/>
                    <a:gd name="T64" fmla="*/ 8 w 13180"/>
                    <a:gd name="T65" fmla="*/ 14 h 2102"/>
                    <a:gd name="T66" fmla="*/ 7 w 13180"/>
                    <a:gd name="T67" fmla="*/ 13 h 2102"/>
                    <a:gd name="T68" fmla="*/ 6 w 13180"/>
                    <a:gd name="T69" fmla="*/ 12 h 2102"/>
                    <a:gd name="T70" fmla="*/ 5 w 13180"/>
                    <a:gd name="T71" fmla="*/ 10 h 2102"/>
                    <a:gd name="T72" fmla="*/ 4 w 13180"/>
                    <a:gd name="T73" fmla="*/ 8 h 2102"/>
                    <a:gd name="T74" fmla="*/ 3 w 13180"/>
                    <a:gd name="T75" fmla="*/ 6 h 2102"/>
                    <a:gd name="T76" fmla="*/ 2 w 13180"/>
                    <a:gd name="T77" fmla="*/ 4 h 2102"/>
                    <a:gd name="T78" fmla="*/ 1 w 13180"/>
                    <a:gd name="T79" fmla="*/ 3 h 2102"/>
                    <a:gd name="T80" fmla="*/ 0 w 13180"/>
                    <a:gd name="T81" fmla="*/ 2 h 2102"/>
                    <a:gd name="T82" fmla="*/ 0 w 13180"/>
                    <a:gd name="T83" fmla="*/ 1 h 2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180"/>
                    <a:gd name="T127" fmla="*/ 0 h 2102"/>
                    <a:gd name="T128" fmla="*/ 13180 w 13180"/>
                    <a:gd name="T129" fmla="*/ 2102 h 2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180" h="2102">
                      <a:moveTo>
                        <a:pt x="0" y="187"/>
                      </a:moveTo>
                      <a:lnTo>
                        <a:pt x="32" y="169"/>
                      </a:lnTo>
                      <a:lnTo>
                        <a:pt x="137" y="141"/>
                      </a:lnTo>
                      <a:lnTo>
                        <a:pt x="315" y="95"/>
                      </a:lnTo>
                      <a:lnTo>
                        <a:pt x="580" y="55"/>
                      </a:lnTo>
                      <a:lnTo>
                        <a:pt x="923" y="18"/>
                      </a:lnTo>
                      <a:lnTo>
                        <a:pt x="1357" y="0"/>
                      </a:lnTo>
                      <a:lnTo>
                        <a:pt x="1883" y="5"/>
                      </a:lnTo>
                      <a:lnTo>
                        <a:pt x="2509" y="50"/>
                      </a:lnTo>
                      <a:lnTo>
                        <a:pt x="3478" y="141"/>
                      </a:lnTo>
                      <a:lnTo>
                        <a:pt x="4926" y="288"/>
                      </a:lnTo>
                      <a:lnTo>
                        <a:pt x="6668" y="461"/>
                      </a:lnTo>
                      <a:lnTo>
                        <a:pt x="8514" y="654"/>
                      </a:lnTo>
                      <a:lnTo>
                        <a:pt x="10269" y="832"/>
                      </a:lnTo>
                      <a:lnTo>
                        <a:pt x="11763" y="987"/>
                      </a:lnTo>
                      <a:lnTo>
                        <a:pt x="12791" y="1092"/>
                      </a:lnTo>
                      <a:lnTo>
                        <a:pt x="13180" y="1134"/>
                      </a:lnTo>
                      <a:lnTo>
                        <a:pt x="13143" y="2070"/>
                      </a:lnTo>
                      <a:lnTo>
                        <a:pt x="12705" y="2070"/>
                      </a:lnTo>
                      <a:lnTo>
                        <a:pt x="11544" y="2075"/>
                      </a:lnTo>
                      <a:lnTo>
                        <a:pt x="9885" y="2084"/>
                      </a:lnTo>
                      <a:lnTo>
                        <a:pt x="7970" y="2094"/>
                      </a:lnTo>
                      <a:lnTo>
                        <a:pt x="6010" y="2098"/>
                      </a:lnTo>
                      <a:lnTo>
                        <a:pt x="4241" y="2102"/>
                      </a:lnTo>
                      <a:lnTo>
                        <a:pt x="2884" y="2098"/>
                      </a:lnTo>
                      <a:lnTo>
                        <a:pt x="2185" y="2094"/>
                      </a:lnTo>
                      <a:lnTo>
                        <a:pt x="1901" y="2075"/>
                      </a:lnTo>
                      <a:lnTo>
                        <a:pt x="1677" y="2052"/>
                      </a:lnTo>
                      <a:lnTo>
                        <a:pt x="1490" y="2011"/>
                      </a:lnTo>
                      <a:lnTo>
                        <a:pt x="1349" y="1965"/>
                      </a:lnTo>
                      <a:lnTo>
                        <a:pt x="1225" y="1901"/>
                      </a:lnTo>
                      <a:lnTo>
                        <a:pt x="1120" y="1823"/>
                      </a:lnTo>
                      <a:lnTo>
                        <a:pt x="1014" y="1728"/>
                      </a:lnTo>
                      <a:lnTo>
                        <a:pt x="914" y="1618"/>
                      </a:lnTo>
                      <a:lnTo>
                        <a:pt x="781" y="1453"/>
                      </a:lnTo>
                      <a:lnTo>
                        <a:pt x="640" y="1252"/>
                      </a:lnTo>
                      <a:lnTo>
                        <a:pt x="489" y="1015"/>
                      </a:lnTo>
                      <a:lnTo>
                        <a:pt x="343" y="776"/>
                      </a:lnTo>
                      <a:lnTo>
                        <a:pt x="206" y="549"/>
                      </a:lnTo>
                      <a:lnTo>
                        <a:pt x="96" y="361"/>
                      </a:lnTo>
                      <a:lnTo>
                        <a:pt x="23" y="233"/>
                      </a:lnTo>
                      <a:lnTo>
                        <a:pt x="0" y="187"/>
                      </a:lnTo>
                      <a:close/>
                    </a:path>
                  </a:pathLst>
                </a:custGeom>
                <a:solidFill>
                  <a:schemeClr val="accent1"/>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56" name="Freeform 407"/>
                <p:cNvSpPr>
                  <a:spLocks/>
                </p:cNvSpPr>
                <p:nvPr/>
              </p:nvSpPr>
              <p:spPr bwMode="auto">
                <a:xfrm>
                  <a:off x="1882" y="2155"/>
                  <a:ext cx="1384" cy="372"/>
                </a:xfrm>
                <a:custGeom>
                  <a:avLst/>
                  <a:gdLst>
                    <a:gd name="T0" fmla="*/ 0 w 6919"/>
                    <a:gd name="T1" fmla="*/ 0 h 1860"/>
                    <a:gd name="T2" fmla="*/ 55 w 6919"/>
                    <a:gd name="T3" fmla="*/ 9 h 1860"/>
                    <a:gd name="T4" fmla="*/ 55 w 6919"/>
                    <a:gd name="T5" fmla="*/ 15 h 1860"/>
                    <a:gd name="T6" fmla="*/ 0 w 6919"/>
                    <a:gd name="T7" fmla="*/ 9 h 1860"/>
                    <a:gd name="T8" fmla="*/ 0 w 6919"/>
                    <a:gd name="T9" fmla="*/ 0 h 1860"/>
                    <a:gd name="T10" fmla="*/ 0 60000 65536"/>
                    <a:gd name="T11" fmla="*/ 0 60000 65536"/>
                    <a:gd name="T12" fmla="*/ 0 60000 65536"/>
                    <a:gd name="T13" fmla="*/ 0 60000 65536"/>
                    <a:gd name="T14" fmla="*/ 0 60000 65536"/>
                    <a:gd name="T15" fmla="*/ 0 w 6919"/>
                    <a:gd name="T16" fmla="*/ 0 h 1860"/>
                    <a:gd name="T17" fmla="*/ 6919 w 6919"/>
                    <a:gd name="T18" fmla="*/ 1860 h 1860"/>
                  </a:gdLst>
                  <a:ahLst/>
                  <a:cxnLst>
                    <a:cxn ang="T10">
                      <a:pos x="T0" y="T1"/>
                    </a:cxn>
                    <a:cxn ang="T11">
                      <a:pos x="T2" y="T3"/>
                    </a:cxn>
                    <a:cxn ang="T12">
                      <a:pos x="T4" y="T5"/>
                    </a:cxn>
                    <a:cxn ang="T13">
                      <a:pos x="T6" y="T7"/>
                    </a:cxn>
                    <a:cxn ang="T14">
                      <a:pos x="T8" y="T9"/>
                    </a:cxn>
                  </a:cxnLst>
                  <a:rect l="T15" t="T16" r="T17" b="T18"/>
                  <a:pathLst>
                    <a:path w="6919" h="1860">
                      <a:moveTo>
                        <a:pt x="0" y="0"/>
                      </a:moveTo>
                      <a:lnTo>
                        <a:pt x="6873" y="1165"/>
                      </a:lnTo>
                      <a:lnTo>
                        <a:pt x="6919" y="1860"/>
                      </a:lnTo>
                      <a:lnTo>
                        <a:pt x="0" y="1120"/>
                      </a:lnTo>
                      <a:lnTo>
                        <a:pt x="0" y="0"/>
                      </a:lnTo>
                      <a:close/>
                    </a:path>
                  </a:pathLst>
                </a:custGeom>
                <a:solidFill>
                  <a:srgbClr val="DDDDDD"/>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57" name="Freeform 408"/>
                <p:cNvSpPr>
                  <a:spLocks/>
                </p:cNvSpPr>
                <p:nvPr/>
              </p:nvSpPr>
              <p:spPr bwMode="auto">
                <a:xfrm>
                  <a:off x="1478" y="2148"/>
                  <a:ext cx="383" cy="231"/>
                </a:xfrm>
                <a:custGeom>
                  <a:avLst/>
                  <a:gdLst>
                    <a:gd name="T0" fmla="*/ 0 w 1915"/>
                    <a:gd name="T1" fmla="*/ 2 h 1156"/>
                    <a:gd name="T2" fmla="*/ 0 w 1915"/>
                    <a:gd name="T3" fmla="*/ 8 h 1156"/>
                    <a:gd name="T4" fmla="*/ 15 w 1915"/>
                    <a:gd name="T5" fmla="*/ 9 h 1156"/>
                    <a:gd name="T6" fmla="*/ 15 w 1915"/>
                    <a:gd name="T7" fmla="*/ 0 h 1156"/>
                    <a:gd name="T8" fmla="*/ 0 w 1915"/>
                    <a:gd name="T9" fmla="*/ 2 h 1156"/>
                    <a:gd name="T10" fmla="*/ 0 60000 65536"/>
                    <a:gd name="T11" fmla="*/ 0 60000 65536"/>
                    <a:gd name="T12" fmla="*/ 0 60000 65536"/>
                    <a:gd name="T13" fmla="*/ 0 60000 65536"/>
                    <a:gd name="T14" fmla="*/ 0 60000 65536"/>
                    <a:gd name="T15" fmla="*/ 0 w 1915"/>
                    <a:gd name="T16" fmla="*/ 0 h 1156"/>
                    <a:gd name="T17" fmla="*/ 1915 w 1915"/>
                    <a:gd name="T18" fmla="*/ 1156 h 1156"/>
                  </a:gdLst>
                  <a:ahLst/>
                  <a:cxnLst>
                    <a:cxn ang="T10">
                      <a:pos x="T0" y="T1"/>
                    </a:cxn>
                    <a:cxn ang="T11">
                      <a:pos x="T2" y="T3"/>
                    </a:cxn>
                    <a:cxn ang="T12">
                      <a:pos x="T4" y="T5"/>
                    </a:cxn>
                    <a:cxn ang="T13">
                      <a:pos x="T6" y="T7"/>
                    </a:cxn>
                    <a:cxn ang="T14">
                      <a:pos x="T8" y="T9"/>
                    </a:cxn>
                  </a:cxnLst>
                  <a:rect l="T15" t="T16" r="T17" b="T18"/>
                  <a:pathLst>
                    <a:path w="1915" h="1156">
                      <a:moveTo>
                        <a:pt x="23" y="311"/>
                      </a:moveTo>
                      <a:lnTo>
                        <a:pt x="0" y="960"/>
                      </a:lnTo>
                      <a:lnTo>
                        <a:pt x="1915" y="1156"/>
                      </a:lnTo>
                      <a:lnTo>
                        <a:pt x="1855" y="0"/>
                      </a:lnTo>
                      <a:lnTo>
                        <a:pt x="23" y="311"/>
                      </a:lnTo>
                      <a:close/>
                    </a:path>
                  </a:pathLst>
                </a:custGeom>
                <a:solidFill>
                  <a:srgbClr val="DDDDDD"/>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58" name="Freeform 409"/>
                <p:cNvSpPr>
                  <a:spLocks/>
                </p:cNvSpPr>
                <p:nvPr/>
              </p:nvSpPr>
              <p:spPr bwMode="auto">
                <a:xfrm>
                  <a:off x="1321" y="2392"/>
                  <a:ext cx="602" cy="298"/>
                </a:xfrm>
                <a:custGeom>
                  <a:avLst/>
                  <a:gdLst>
                    <a:gd name="T0" fmla="*/ 0 w 3012"/>
                    <a:gd name="T1" fmla="*/ 0 h 1490"/>
                    <a:gd name="T2" fmla="*/ 0 w 3012"/>
                    <a:gd name="T3" fmla="*/ 0 h 1490"/>
                    <a:gd name="T4" fmla="*/ 1 w 3012"/>
                    <a:gd name="T5" fmla="*/ 0 h 1490"/>
                    <a:gd name="T6" fmla="*/ 2 w 3012"/>
                    <a:gd name="T7" fmla="*/ 0 h 1490"/>
                    <a:gd name="T8" fmla="*/ 3 w 3012"/>
                    <a:gd name="T9" fmla="*/ 0 h 1490"/>
                    <a:gd name="T10" fmla="*/ 4 w 3012"/>
                    <a:gd name="T11" fmla="*/ 0 h 1490"/>
                    <a:gd name="T12" fmla="*/ 6 w 3012"/>
                    <a:gd name="T13" fmla="*/ 0 h 1490"/>
                    <a:gd name="T14" fmla="*/ 8 w 3012"/>
                    <a:gd name="T15" fmla="*/ 0 h 1490"/>
                    <a:gd name="T16" fmla="*/ 10 w 3012"/>
                    <a:gd name="T17" fmla="*/ 0 h 1490"/>
                    <a:gd name="T18" fmla="*/ 13 w 3012"/>
                    <a:gd name="T19" fmla="*/ 1 h 1490"/>
                    <a:gd name="T20" fmla="*/ 15 w 3012"/>
                    <a:gd name="T21" fmla="*/ 1 h 1490"/>
                    <a:gd name="T22" fmla="*/ 17 w 3012"/>
                    <a:gd name="T23" fmla="*/ 1 h 1490"/>
                    <a:gd name="T24" fmla="*/ 20 w 3012"/>
                    <a:gd name="T25" fmla="*/ 1 h 1490"/>
                    <a:gd name="T26" fmla="*/ 21 w 3012"/>
                    <a:gd name="T27" fmla="*/ 1 h 1490"/>
                    <a:gd name="T28" fmla="*/ 23 w 3012"/>
                    <a:gd name="T29" fmla="*/ 2 h 1490"/>
                    <a:gd name="T30" fmla="*/ 24 w 3012"/>
                    <a:gd name="T31" fmla="*/ 2 h 1490"/>
                    <a:gd name="T32" fmla="*/ 24 w 3012"/>
                    <a:gd name="T33" fmla="*/ 2 h 1490"/>
                    <a:gd name="T34" fmla="*/ 16 w 3012"/>
                    <a:gd name="T35" fmla="*/ 2 h 1490"/>
                    <a:gd name="T36" fmla="*/ 24 w 3012"/>
                    <a:gd name="T37" fmla="*/ 3 h 1490"/>
                    <a:gd name="T38" fmla="*/ 16 w 3012"/>
                    <a:gd name="T39" fmla="*/ 3 h 1490"/>
                    <a:gd name="T40" fmla="*/ 23 w 3012"/>
                    <a:gd name="T41" fmla="*/ 5 h 1490"/>
                    <a:gd name="T42" fmla="*/ 16 w 3012"/>
                    <a:gd name="T43" fmla="*/ 5 h 1490"/>
                    <a:gd name="T44" fmla="*/ 23 w 3012"/>
                    <a:gd name="T45" fmla="*/ 6 h 1490"/>
                    <a:gd name="T46" fmla="*/ 16 w 3012"/>
                    <a:gd name="T47" fmla="*/ 7 h 1490"/>
                    <a:gd name="T48" fmla="*/ 23 w 3012"/>
                    <a:gd name="T49" fmla="*/ 7 h 1490"/>
                    <a:gd name="T50" fmla="*/ 16 w 3012"/>
                    <a:gd name="T51" fmla="*/ 8 h 1490"/>
                    <a:gd name="T52" fmla="*/ 23 w 3012"/>
                    <a:gd name="T53" fmla="*/ 9 h 1490"/>
                    <a:gd name="T54" fmla="*/ 16 w 3012"/>
                    <a:gd name="T55" fmla="*/ 9 h 1490"/>
                    <a:gd name="T56" fmla="*/ 23 w 3012"/>
                    <a:gd name="T57" fmla="*/ 10 h 1490"/>
                    <a:gd name="T58" fmla="*/ 16 w 3012"/>
                    <a:gd name="T59" fmla="*/ 11 h 1490"/>
                    <a:gd name="T60" fmla="*/ 23 w 3012"/>
                    <a:gd name="T61" fmla="*/ 12 h 1490"/>
                    <a:gd name="T62" fmla="*/ 22 w 3012"/>
                    <a:gd name="T63" fmla="*/ 12 h 1490"/>
                    <a:gd name="T64" fmla="*/ 21 w 3012"/>
                    <a:gd name="T65" fmla="*/ 12 h 1490"/>
                    <a:gd name="T66" fmla="*/ 20 w 3012"/>
                    <a:gd name="T67" fmla="*/ 12 h 1490"/>
                    <a:gd name="T68" fmla="*/ 18 w 3012"/>
                    <a:gd name="T69" fmla="*/ 12 h 1490"/>
                    <a:gd name="T70" fmla="*/ 16 w 3012"/>
                    <a:gd name="T71" fmla="*/ 12 h 1490"/>
                    <a:gd name="T72" fmla="*/ 14 w 3012"/>
                    <a:gd name="T73" fmla="*/ 12 h 1490"/>
                    <a:gd name="T74" fmla="*/ 12 w 3012"/>
                    <a:gd name="T75" fmla="*/ 12 h 1490"/>
                    <a:gd name="T76" fmla="*/ 9 w 3012"/>
                    <a:gd name="T77" fmla="*/ 12 h 1490"/>
                    <a:gd name="T78" fmla="*/ 7 w 3012"/>
                    <a:gd name="T79" fmla="*/ 11 h 1490"/>
                    <a:gd name="T80" fmla="*/ 5 w 3012"/>
                    <a:gd name="T81" fmla="*/ 11 h 1490"/>
                    <a:gd name="T82" fmla="*/ 4 w 3012"/>
                    <a:gd name="T83" fmla="*/ 11 h 1490"/>
                    <a:gd name="T84" fmla="*/ 3 w 3012"/>
                    <a:gd name="T85" fmla="*/ 11 h 1490"/>
                    <a:gd name="T86" fmla="*/ 2 w 3012"/>
                    <a:gd name="T87" fmla="*/ 11 h 1490"/>
                    <a:gd name="T88" fmla="*/ 2 w 3012"/>
                    <a:gd name="T89" fmla="*/ 11 h 1490"/>
                    <a:gd name="T90" fmla="*/ 2 w 3012"/>
                    <a:gd name="T91" fmla="*/ 11 h 1490"/>
                    <a:gd name="T92" fmla="*/ 2 w 3012"/>
                    <a:gd name="T93" fmla="*/ 11 h 1490"/>
                    <a:gd name="T94" fmla="*/ 9 w 3012"/>
                    <a:gd name="T95" fmla="*/ 10 h 1490"/>
                    <a:gd name="T96" fmla="*/ 1 w 3012"/>
                    <a:gd name="T97" fmla="*/ 9 h 1490"/>
                    <a:gd name="T98" fmla="*/ 8 w 3012"/>
                    <a:gd name="T99" fmla="*/ 9 h 1490"/>
                    <a:gd name="T100" fmla="*/ 1 w 3012"/>
                    <a:gd name="T101" fmla="*/ 7 h 1490"/>
                    <a:gd name="T102" fmla="*/ 8 w 3012"/>
                    <a:gd name="T103" fmla="*/ 7 h 1490"/>
                    <a:gd name="T104" fmla="*/ 1 w 3012"/>
                    <a:gd name="T105" fmla="*/ 5 h 1490"/>
                    <a:gd name="T106" fmla="*/ 7 w 3012"/>
                    <a:gd name="T107" fmla="*/ 5 h 1490"/>
                    <a:gd name="T108" fmla="*/ 1 w 3012"/>
                    <a:gd name="T109" fmla="*/ 4 h 1490"/>
                    <a:gd name="T110" fmla="*/ 7 w 3012"/>
                    <a:gd name="T111" fmla="*/ 4 h 1490"/>
                    <a:gd name="T112" fmla="*/ 0 w 3012"/>
                    <a:gd name="T113" fmla="*/ 2 h 1490"/>
                    <a:gd name="T114" fmla="*/ 6 w 3012"/>
                    <a:gd name="T115" fmla="*/ 2 h 1490"/>
                    <a:gd name="T116" fmla="*/ 0 w 3012"/>
                    <a:gd name="T117" fmla="*/ 0 h 14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012"/>
                    <a:gd name="T178" fmla="*/ 0 h 1490"/>
                    <a:gd name="T179" fmla="*/ 3012 w 3012"/>
                    <a:gd name="T180" fmla="*/ 1490 h 14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012" h="1490">
                      <a:moveTo>
                        <a:pt x="0" y="27"/>
                      </a:moveTo>
                      <a:lnTo>
                        <a:pt x="18" y="23"/>
                      </a:lnTo>
                      <a:lnTo>
                        <a:pt x="87" y="13"/>
                      </a:lnTo>
                      <a:lnTo>
                        <a:pt x="192" y="5"/>
                      </a:lnTo>
                      <a:lnTo>
                        <a:pt x="338" y="5"/>
                      </a:lnTo>
                      <a:lnTo>
                        <a:pt x="521" y="0"/>
                      </a:lnTo>
                      <a:lnTo>
                        <a:pt x="740" y="5"/>
                      </a:lnTo>
                      <a:lnTo>
                        <a:pt x="992" y="13"/>
                      </a:lnTo>
                      <a:lnTo>
                        <a:pt x="1280" y="41"/>
                      </a:lnTo>
                      <a:lnTo>
                        <a:pt x="1581" y="69"/>
                      </a:lnTo>
                      <a:lnTo>
                        <a:pt x="1882" y="96"/>
                      </a:lnTo>
                      <a:lnTo>
                        <a:pt x="2175" y="124"/>
                      </a:lnTo>
                      <a:lnTo>
                        <a:pt x="2445" y="151"/>
                      </a:lnTo>
                      <a:lnTo>
                        <a:pt x="2669" y="174"/>
                      </a:lnTo>
                      <a:lnTo>
                        <a:pt x="2852" y="192"/>
                      </a:lnTo>
                      <a:lnTo>
                        <a:pt x="2966" y="202"/>
                      </a:lnTo>
                      <a:lnTo>
                        <a:pt x="3012" y="210"/>
                      </a:lnTo>
                      <a:lnTo>
                        <a:pt x="1983" y="260"/>
                      </a:lnTo>
                      <a:lnTo>
                        <a:pt x="2980" y="407"/>
                      </a:lnTo>
                      <a:lnTo>
                        <a:pt x="1983" y="429"/>
                      </a:lnTo>
                      <a:lnTo>
                        <a:pt x="2898" y="572"/>
                      </a:lnTo>
                      <a:lnTo>
                        <a:pt x="2006" y="626"/>
                      </a:lnTo>
                      <a:lnTo>
                        <a:pt x="2934" y="754"/>
                      </a:lnTo>
                      <a:lnTo>
                        <a:pt x="2006" y="823"/>
                      </a:lnTo>
                      <a:lnTo>
                        <a:pt x="2898" y="919"/>
                      </a:lnTo>
                      <a:lnTo>
                        <a:pt x="1983" y="988"/>
                      </a:lnTo>
                      <a:lnTo>
                        <a:pt x="2860" y="1116"/>
                      </a:lnTo>
                      <a:lnTo>
                        <a:pt x="1983" y="1170"/>
                      </a:lnTo>
                      <a:lnTo>
                        <a:pt x="2829" y="1285"/>
                      </a:lnTo>
                      <a:lnTo>
                        <a:pt x="2020" y="1357"/>
                      </a:lnTo>
                      <a:lnTo>
                        <a:pt x="2815" y="1482"/>
                      </a:lnTo>
                      <a:lnTo>
                        <a:pt x="2774" y="1482"/>
                      </a:lnTo>
                      <a:lnTo>
                        <a:pt x="2669" y="1486"/>
                      </a:lnTo>
                      <a:lnTo>
                        <a:pt x="2500" y="1486"/>
                      </a:lnTo>
                      <a:lnTo>
                        <a:pt x="2290" y="1490"/>
                      </a:lnTo>
                      <a:lnTo>
                        <a:pt x="2038" y="1486"/>
                      </a:lnTo>
                      <a:lnTo>
                        <a:pt x="1759" y="1482"/>
                      </a:lnTo>
                      <a:lnTo>
                        <a:pt x="1462" y="1462"/>
                      </a:lnTo>
                      <a:lnTo>
                        <a:pt x="1165" y="1449"/>
                      </a:lnTo>
                      <a:lnTo>
                        <a:pt x="886" y="1422"/>
                      </a:lnTo>
                      <a:lnTo>
                        <a:pt x="667" y="1408"/>
                      </a:lnTo>
                      <a:lnTo>
                        <a:pt x="503" y="1390"/>
                      </a:lnTo>
                      <a:lnTo>
                        <a:pt x="388" y="1381"/>
                      </a:lnTo>
                      <a:lnTo>
                        <a:pt x="302" y="1367"/>
                      </a:lnTo>
                      <a:lnTo>
                        <a:pt x="256" y="1362"/>
                      </a:lnTo>
                      <a:lnTo>
                        <a:pt x="233" y="1357"/>
                      </a:lnTo>
                      <a:lnTo>
                        <a:pt x="229" y="1357"/>
                      </a:lnTo>
                      <a:lnTo>
                        <a:pt x="1074" y="1285"/>
                      </a:lnTo>
                      <a:lnTo>
                        <a:pt x="147" y="1116"/>
                      </a:lnTo>
                      <a:lnTo>
                        <a:pt x="1037" y="1124"/>
                      </a:lnTo>
                      <a:lnTo>
                        <a:pt x="137" y="919"/>
                      </a:lnTo>
                      <a:lnTo>
                        <a:pt x="969" y="905"/>
                      </a:lnTo>
                      <a:lnTo>
                        <a:pt x="123" y="676"/>
                      </a:lnTo>
                      <a:lnTo>
                        <a:pt x="886" y="662"/>
                      </a:lnTo>
                      <a:lnTo>
                        <a:pt x="91" y="480"/>
                      </a:lnTo>
                      <a:lnTo>
                        <a:pt x="832" y="453"/>
                      </a:lnTo>
                      <a:lnTo>
                        <a:pt x="23" y="224"/>
                      </a:lnTo>
                      <a:lnTo>
                        <a:pt x="727" y="233"/>
                      </a:lnTo>
                      <a:lnTo>
                        <a:pt x="0" y="27"/>
                      </a:lnTo>
                      <a:close/>
                    </a:path>
                  </a:pathLst>
                </a:custGeom>
                <a:solidFill>
                  <a:srgbClr val="EAEAEA"/>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59" name="Freeform 410"/>
                <p:cNvSpPr>
                  <a:spLocks/>
                </p:cNvSpPr>
                <p:nvPr/>
              </p:nvSpPr>
              <p:spPr bwMode="auto">
                <a:xfrm>
                  <a:off x="1923" y="2187"/>
                  <a:ext cx="1314" cy="317"/>
                </a:xfrm>
                <a:custGeom>
                  <a:avLst/>
                  <a:gdLst>
                    <a:gd name="T0" fmla="*/ 0 w 6571"/>
                    <a:gd name="T1" fmla="*/ 0 h 1582"/>
                    <a:gd name="T2" fmla="*/ 53 w 6571"/>
                    <a:gd name="T3" fmla="*/ 9 h 1582"/>
                    <a:gd name="T4" fmla="*/ 2 w 6571"/>
                    <a:gd name="T5" fmla="*/ 2 h 1582"/>
                    <a:gd name="T6" fmla="*/ 52 w 6571"/>
                    <a:gd name="T7" fmla="*/ 10 h 1582"/>
                    <a:gd name="T8" fmla="*/ 2 w 6571"/>
                    <a:gd name="T9" fmla="*/ 4 h 1582"/>
                    <a:gd name="T10" fmla="*/ 53 w 6571"/>
                    <a:gd name="T11" fmla="*/ 11 h 1582"/>
                    <a:gd name="T12" fmla="*/ 2 w 6571"/>
                    <a:gd name="T13" fmla="*/ 6 h 1582"/>
                    <a:gd name="T14" fmla="*/ 53 w 6571"/>
                    <a:gd name="T15" fmla="*/ 13 h 1582"/>
                    <a:gd name="T16" fmla="*/ 0 w 6571"/>
                    <a:gd name="T17" fmla="*/ 7 h 1582"/>
                    <a:gd name="T18" fmla="*/ 0 w 6571"/>
                    <a:gd name="T19" fmla="*/ 0 h 1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71"/>
                    <a:gd name="T31" fmla="*/ 0 h 1582"/>
                    <a:gd name="T32" fmla="*/ 6571 w 6571"/>
                    <a:gd name="T33" fmla="*/ 1582 h 1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71" h="1582">
                      <a:moveTo>
                        <a:pt x="0" y="0"/>
                      </a:moveTo>
                      <a:lnTo>
                        <a:pt x="6571" y="1134"/>
                      </a:lnTo>
                      <a:lnTo>
                        <a:pt x="265" y="206"/>
                      </a:lnTo>
                      <a:lnTo>
                        <a:pt x="6563" y="1257"/>
                      </a:lnTo>
                      <a:lnTo>
                        <a:pt x="288" y="453"/>
                      </a:lnTo>
                      <a:lnTo>
                        <a:pt x="6571" y="1408"/>
                      </a:lnTo>
                      <a:lnTo>
                        <a:pt x="265" y="704"/>
                      </a:lnTo>
                      <a:lnTo>
                        <a:pt x="6571" y="1582"/>
                      </a:lnTo>
                      <a:lnTo>
                        <a:pt x="0" y="841"/>
                      </a:lnTo>
                      <a:lnTo>
                        <a:pt x="0" y="0"/>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60" name="Freeform 411"/>
                <p:cNvSpPr>
                  <a:spLocks/>
                </p:cNvSpPr>
                <p:nvPr/>
              </p:nvSpPr>
              <p:spPr bwMode="auto">
                <a:xfrm>
                  <a:off x="1501" y="2175"/>
                  <a:ext cx="334" cy="180"/>
                </a:xfrm>
                <a:custGeom>
                  <a:avLst/>
                  <a:gdLst>
                    <a:gd name="T0" fmla="*/ 13 w 1673"/>
                    <a:gd name="T1" fmla="*/ 0 h 901"/>
                    <a:gd name="T2" fmla="*/ 0 w 1673"/>
                    <a:gd name="T3" fmla="*/ 2 h 901"/>
                    <a:gd name="T4" fmla="*/ 11 w 1673"/>
                    <a:gd name="T5" fmla="*/ 2 h 901"/>
                    <a:gd name="T6" fmla="*/ 0 w 1673"/>
                    <a:gd name="T7" fmla="*/ 3 h 901"/>
                    <a:gd name="T8" fmla="*/ 10 w 1673"/>
                    <a:gd name="T9" fmla="*/ 3 h 901"/>
                    <a:gd name="T10" fmla="*/ 0 w 1673"/>
                    <a:gd name="T11" fmla="*/ 5 h 901"/>
                    <a:gd name="T12" fmla="*/ 10 w 1673"/>
                    <a:gd name="T13" fmla="*/ 4 h 901"/>
                    <a:gd name="T14" fmla="*/ 3 w 1673"/>
                    <a:gd name="T15" fmla="*/ 6 h 901"/>
                    <a:gd name="T16" fmla="*/ 10 w 1673"/>
                    <a:gd name="T17" fmla="*/ 6 h 901"/>
                    <a:gd name="T18" fmla="*/ 8 w 1673"/>
                    <a:gd name="T19" fmla="*/ 7 h 901"/>
                    <a:gd name="T20" fmla="*/ 13 w 1673"/>
                    <a:gd name="T21" fmla="*/ 7 h 901"/>
                    <a:gd name="T22" fmla="*/ 13 w 1673"/>
                    <a:gd name="T23" fmla="*/ 0 h 9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73"/>
                    <a:gd name="T37" fmla="*/ 0 h 901"/>
                    <a:gd name="T38" fmla="*/ 1673 w 1673"/>
                    <a:gd name="T39" fmla="*/ 901 h 9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73" h="901">
                      <a:moveTo>
                        <a:pt x="1641" y="0"/>
                      </a:moveTo>
                      <a:lnTo>
                        <a:pt x="0" y="293"/>
                      </a:lnTo>
                      <a:lnTo>
                        <a:pt x="1317" y="197"/>
                      </a:lnTo>
                      <a:lnTo>
                        <a:pt x="0" y="430"/>
                      </a:lnTo>
                      <a:lnTo>
                        <a:pt x="1280" y="362"/>
                      </a:lnTo>
                      <a:lnTo>
                        <a:pt x="0" y="627"/>
                      </a:lnTo>
                      <a:lnTo>
                        <a:pt x="1235" y="545"/>
                      </a:lnTo>
                      <a:lnTo>
                        <a:pt x="348" y="778"/>
                      </a:lnTo>
                      <a:lnTo>
                        <a:pt x="1280" y="718"/>
                      </a:lnTo>
                      <a:lnTo>
                        <a:pt x="1028" y="846"/>
                      </a:lnTo>
                      <a:lnTo>
                        <a:pt x="1673" y="901"/>
                      </a:lnTo>
                      <a:lnTo>
                        <a:pt x="1641" y="0"/>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61" name="Freeform 412"/>
                <p:cNvSpPr>
                  <a:spLocks/>
                </p:cNvSpPr>
                <p:nvPr/>
              </p:nvSpPr>
              <p:spPr bwMode="auto">
                <a:xfrm>
                  <a:off x="1274" y="2656"/>
                  <a:ext cx="2423" cy="114"/>
                </a:xfrm>
                <a:custGeom>
                  <a:avLst/>
                  <a:gdLst>
                    <a:gd name="T0" fmla="*/ 0 w 12115"/>
                    <a:gd name="T1" fmla="*/ 0 h 571"/>
                    <a:gd name="T2" fmla="*/ 0 w 12115"/>
                    <a:gd name="T3" fmla="*/ 0 h 571"/>
                    <a:gd name="T4" fmla="*/ 0 w 12115"/>
                    <a:gd name="T5" fmla="*/ 0 h 571"/>
                    <a:gd name="T6" fmla="*/ 1 w 12115"/>
                    <a:gd name="T7" fmla="*/ 1 h 571"/>
                    <a:gd name="T8" fmla="*/ 2 w 12115"/>
                    <a:gd name="T9" fmla="*/ 1 h 571"/>
                    <a:gd name="T10" fmla="*/ 3 w 12115"/>
                    <a:gd name="T11" fmla="*/ 1 h 571"/>
                    <a:gd name="T12" fmla="*/ 4 w 12115"/>
                    <a:gd name="T13" fmla="*/ 2 h 571"/>
                    <a:gd name="T14" fmla="*/ 6 w 12115"/>
                    <a:gd name="T15" fmla="*/ 2 h 571"/>
                    <a:gd name="T16" fmla="*/ 8 w 12115"/>
                    <a:gd name="T17" fmla="*/ 2 h 571"/>
                    <a:gd name="T18" fmla="*/ 14 w 12115"/>
                    <a:gd name="T19" fmla="*/ 2 h 571"/>
                    <a:gd name="T20" fmla="*/ 23 w 12115"/>
                    <a:gd name="T21" fmla="*/ 2 h 571"/>
                    <a:gd name="T22" fmla="*/ 35 w 12115"/>
                    <a:gd name="T23" fmla="*/ 3 h 571"/>
                    <a:gd name="T24" fmla="*/ 49 w 12115"/>
                    <a:gd name="T25" fmla="*/ 3 h 571"/>
                    <a:gd name="T26" fmla="*/ 63 w 12115"/>
                    <a:gd name="T27" fmla="*/ 3 h 571"/>
                    <a:gd name="T28" fmla="*/ 75 w 12115"/>
                    <a:gd name="T29" fmla="*/ 3 h 571"/>
                    <a:gd name="T30" fmla="*/ 84 w 12115"/>
                    <a:gd name="T31" fmla="*/ 3 h 571"/>
                    <a:gd name="T32" fmla="*/ 89 w 12115"/>
                    <a:gd name="T33" fmla="*/ 3 h 571"/>
                    <a:gd name="T34" fmla="*/ 91 w 12115"/>
                    <a:gd name="T35" fmla="*/ 3 h 571"/>
                    <a:gd name="T36" fmla="*/ 93 w 12115"/>
                    <a:gd name="T37" fmla="*/ 2 h 571"/>
                    <a:gd name="T38" fmla="*/ 94 w 12115"/>
                    <a:gd name="T39" fmla="*/ 2 h 571"/>
                    <a:gd name="T40" fmla="*/ 95 w 12115"/>
                    <a:gd name="T41" fmla="*/ 2 h 571"/>
                    <a:gd name="T42" fmla="*/ 96 w 12115"/>
                    <a:gd name="T43" fmla="*/ 2 h 571"/>
                    <a:gd name="T44" fmla="*/ 96 w 12115"/>
                    <a:gd name="T45" fmla="*/ 2 h 571"/>
                    <a:gd name="T46" fmla="*/ 97 w 12115"/>
                    <a:gd name="T47" fmla="*/ 1 h 571"/>
                    <a:gd name="T48" fmla="*/ 97 w 12115"/>
                    <a:gd name="T49" fmla="*/ 1 h 571"/>
                    <a:gd name="T50" fmla="*/ 97 w 12115"/>
                    <a:gd name="T51" fmla="*/ 4 h 571"/>
                    <a:gd name="T52" fmla="*/ 93 w 12115"/>
                    <a:gd name="T53" fmla="*/ 4 h 571"/>
                    <a:gd name="T54" fmla="*/ 83 w 12115"/>
                    <a:gd name="T55" fmla="*/ 4 h 571"/>
                    <a:gd name="T56" fmla="*/ 68 w 12115"/>
                    <a:gd name="T57" fmla="*/ 4 h 571"/>
                    <a:gd name="T58" fmla="*/ 52 w 12115"/>
                    <a:gd name="T59" fmla="*/ 4 h 571"/>
                    <a:gd name="T60" fmla="*/ 35 w 12115"/>
                    <a:gd name="T61" fmla="*/ 5 h 571"/>
                    <a:gd name="T62" fmla="*/ 20 w 12115"/>
                    <a:gd name="T63" fmla="*/ 5 h 571"/>
                    <a:gd name="T64" fmla="*/ 10 w 12115"/>
                    <a:gd name="T65" fmla="*/ 4 h 571"/>
                    <a:gd name="T66" fmla="*/ 5 w 12115"/>
                    <a:gd name="T67" fmla="*/ 4 h 571"/>
                    <a:gd name="T68" fmla="*/ 4 w 12115"/>
                    <a:gd name="T69" fmla="*/ 4 h 571"/>
                    <a:gd name="T70" fmla="*/ 3 w 12115"/>
                    <a:gd name="T71" fmla="*/ 3 h 571"/>
                    <a:gd name="T72" fmla="*/ 2 w 12115"/>
                    <a:gd name="T73" fmla="*/ 2 h 571"/>
                    <a:gd name="T74" fmla="*/ 1 w 12115"/>
                    <a:gd name="T75" fmla="*/ 2 h 571"/>
                    <a:gd name="T76" fmla="*/ 1 w 12115"/>
                    <a:gd name="T77" fmla="*/ 1 h 571"/>
                    <a:gd name="T78" fmla="*/ 0 w 12115"/>
                    <a:gd name="T79" fmla="*/ 0 h 571"/>
                    <a:gd name="T80" fmla="*/ 0 w 12115"/>
                    <a:gd name="T81" fmla="*/ 0 h 571"/>
                    <a:gd name="T82" fmla="*/ 0 w 12115"/>
                    <a:gd name="T83" fmla="*/ 0 h 57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115"/>
                    <a:gd name="T127" fmla="*/ 0 h 571"/>
                    <a:gd name="T128" fmla="*/ 12115 w 12115"/>
                    <a:gd name="T129" fmla="*/ 571 h 57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115" h="571">
                      <a:moveTo>
                        <a:pt x="0" y="0"/>
                      </a:moveTo>
                      <a:lnTo>
                        <a:pt x="4" y="9"/>
                      </a:lnTo>
                      <a:lnTo>
                        <a:pt x="37" y="36"/>
                      </a:lnTo>
                      <a:lnTo>
                        <a:pt x="96" y="73"/>
                      </a:lnTo>
                      <a:lnTo>
                        <a:pt x="197" y="123"/>
                      </a:lnTo>
                      <a:lnTo>
                        <a:pt x="329" y="169"/>
                      </a:lnTo>
                      <a:lnTo>
                        <a:pt x="512" y="211"/>
                      </a:lnTo>
                      <a:lnTo>
                        <a:pt x="749" y="243"/>
                      </a:lnTo>
                      <a:lnTo>
                        <a:pt x="1051" y="265"/>
                      </a:lnTo>
                      <a:lnTo>
                        <a:pt x="1700" y="279"/>
                      </a:lnTo>
                      <a:lnTo>
                        <a:pt x="2888" y="297"/>
                      </a:lnTo>
                      <a:lnTo>
                        <a:pt x="4428" y="316"/>
                      </a:lnTo>
                      <a:lnTo>
                        <a:pt x="6147" y="338"/>
                      </a:lnTo>
                      <a:lnTo>
                        <a:pt x="7852" y="348"/>
                      </a:lnTo>
                      <a:lnTo>
                        <a:pt x="9373" y="362"/>
                      </a:lnTo>
                      <a:lnTo>
                        <a:pt x="10521" y="362"/>
                      </a:lnTo>
                      <a:lnTo>
                        <a:pt x="11123" y="356"/>
                      </a:lnTo>
                      <a:lnTo>
                        <a:pt x="11370" y="334"/>
                      </a:lnTo>
                      <a:lnTo>
                        <a:pt x="11575" y="311"/>
                      </a:lnTo>
                      <a:lnTo>
                        <a:pt x="11745" y="283"/>
                      </a:lnTo>
                      <a:lnTo>
                        <a:pt x="11887" y="256"/>
                      </a:lnTo>
                      <a:lnTo>
                        <a:pt x="11987" y="224"/>
                      </a:lnTo>
                      <a:lnTo>
                        <a:pt x="12061" y="201"/>
                      </a:lnTo>
                      <a:lnTo>
                        <a:pt x="12101" y="183"/>
                      </a:lnTo>
                      <a:lnTo>
                        <a:pt x="12115" y="183"/>
                      </a:lnTo>
                      <a:lnTo>
                        <a:pt x="12092" y="507"/>
                      </a:lnTo>
                      <a:lnTo>
                        <a:pt x="11608" y="512"/>
                      </a:lnTo>
                      <a:lnTo>
                        <a:pt x="10342" y="526"/>
                      </a:lnTo>
                      <a:lnTo>
                        <a:pt x="8537" y="544"/>
                      </a:lnTo>
                      <a:lnTo>
                        <a:pt x="6467" y="563"/>
                      </a:lnTo>
                      <a:lnTo>
                        <a:pt x="4378" y="571"/>
                      </a:lnTo>
                      <a:lnTo>
                        <a:pt x="2537" y="567"/>
                      </a:lnTo>
                      <a:lnTo>
                        <a:pt x="1193" y="549"/>
                      </a:lnTo>
                      <a:lnTo>
                        <a:pt x="613" y="507"/>
                      </a:lnTo>
                      <a:lnTo>
                        <a:pt x="494" y="439"/>
                      </a:lnTo>
                      <a:lnTo>
                        <a:pt x="384" y="362"/>
                      </a:lnTo>
                      <a:lnTo>
                        <a:pt x="279" y="274"/>
                      </a:lnTo>
                      <a:lnTo>
                        <a:pt x="187" y="197"/>
                      </a:lnTo>
                      <a:lnTo>
                        <a:pt x="105" y="119"/>
                      </a:lnTo>
                      <a:lnTo>
                        <a:pt x="50" y="55"/>
                      </a:lnTo>
                      <a:lnTo>
                        <a:pt x="9" y="14"/>
                      </a:lnTo>
                      <a:lnTo>
                        <a:pt x="0" y="0"/>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62" name="Rectangle 413"/>
                <p:cNvSpPr>
                  <a:spLocks noChangeArrowheads="1"/>
                </p:cNvSpPr>
                <p:nvPr/>
              </p:nvSpPr>
              <p:spPr bwMode="auto">
                <a:xfrm>
                  <a:off x="2224" y="2195"/>
                  <a:ext cx="21" cy="223"/>
                </a:xfrm>
                <a:prstGeom prst="rect">
                  <a:avLst/>
                </a:prstGeom>
                <a:solidFill>
                  <a:srgbClr val="808080"/>
                </a:solidFill>
                <a:ln w="9525">
                  <a:solidFill>
                    <a:srgbClr val="808080"/>
                  </a:solid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4963" name="Rectangle 414"/>
                <p:cNvSpPr>
                  <a:spLocks noChangeArrowheads="1"/>
                </p:cNvSpPr>
                <p:nvPr/>
              </p:nvSpPr>
              <p:spPr bwMode="auto">
                <a:xfrm>
                  <a:off x="1609" y="2168"/>
                  <a:ext cx="25" cy="201"/>
                </a:xfrm>
                <a:prstGeom prst="rect">
                  <a:avLst/>
                </a:prstGeom>
                <a:solidFill>
                  <a:srgbClr val="808080"/>
                </a:solidFill>
                <a:ln w="9525">
                  <a:solidFill>
                    <a:srgbClr val="808080"/>
                  </a:solid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4964" name="Freeform 415"/>
                <p:cNvSpPr>
                  <a:spLocks/>
                </p:cNvSpPr>
                <p:nvPr/>
              </p:nvSpPr>
              <p:spPr bwMode="auto">
                <a:xfrm>
                  <a:off x="2524" y="2240"/>
                  <a:ext cx="19" cy="213"/>
                </a:xfrm>
                <a:custGeom>
                  <a:avLst/>
                  <a:gdLst>
                    <a:gd name="T0" fmla="*/ 0 w 97"/>
                    <a:gd name="T1" fmla="*/ 0 h 1064"/>
                    <a:gd name="T2" fmla="*/ 0 w 97"/>
                    <a:gd name="T3" fmla="*/ 0 h 1064"/>
                    <a:gd name="T4" fmla="*/ 0 w 97"/>
                    <a:gd name="T5" fmla="*/ 0 h 1064"/>
                    <a:gd name="T6" fmla="*/ 1 w 97"/>
                    <a:gd name="T7" fmla="*/ 0 h 1064"/>
                    <a:gd name="T8" fmla="*/ 1 w 97"/>
                    <a:gd name="T9" fmla="*/ 0 h 1064"/>
                    <a:gd name="T10" fmla="*/ 1 w 97"/>
                    <a:gd name="T11" fmla="*/ 1 h 1064"/>
                    <a:gd name="T12" fmla="*/ 1 w 97"/>
                    <a:gd name="T13" fmla="*/ 2 h 1064"/>
                    <a:gd name="T14" fmla="*/ 1 w 97"/>
                    <a:gd name="T15" fmla="*/ 3 h 1064"/>
                    <a:gd name="T16" fmla="*/ 1 w 97"/>
                    <a:gd name="T17" fmla="*/ 4 h 1064"/>
                    <a:gd name="T18" fmla="*/ 1 w 97"/>
                    <a:gd name="T19" fmla="*/ 5 h 1064"/>
                    <a:gd name="T20" fmla="*/ 1 w 97"/>
                    <a:gd name="T21" fmla="*/ 6 h 1064"/>
                    <a:gd name="T22" fmla="*/ 1 w 97"/>
                    <a:gd name="T23" fmla="*/ 7 h 1064"/>
                    <a:gd name="T24" fmla="*/ 1 w 97"/>
                    <a:gd name="T25" fmla="*/ 9 h 1064"/>
                    <a:gd name="T26" fmla="*/ 1 w 97"/>
                    <a:gd name="T27" fmla="*/ 9 h 1064"/>
                    <a:gd name="T28" fmla="*/ 0 w 97"/>
                    <a:gd name="T29" fmla="*/ 9 h 1064"/>
                    <a:gd name="T30" fmla="*/ 0 w 97"/>
                    <a:gd name="T31" fmla="*/ 9 h 1064"/>
                    <a:gd name="T32" fmla="*/ 0 w 97"/>
                    <a:gd name="T33" fmla="*/ 9 h 1064"/>
                    <a:gd name="T34" fmla="*/ 0 w 97"/>
                    <a:gd name="T35" fmla="*/ 7 h 1064"/>
                    <a:gd name="T36" fmla="*/ 0 w 97"/>
                    <a:gd name="T37" fmla="*/ 6 h 1064"/>
                    <a:gd name="T38" fmla="*/ 0 w 97"/>
                    <a:gd name="T39" fmla="*/ 5 h 1064"/>
                    <a:gd name="T40" fmla="*/ 0 w 97"/>
                    <a:gd name="T41" fmla="*/ 4 h 1064"/>
                    <a:gd name="T42" fmla="*/ 0 w 97"/>
                    <a:gd name="T43" fmla="*/ 3 h 1064"/>
                    <a:gd name="T44" fmla="*/ 0 w 97"/>
                    <a:gd name="T45" fmla="*/ 2 h 1064"/>
                    <a:gd name="T46" fmla="*/ 0 w 97"/>
                    <a:gd name="T47" fmla="*/ 1 h 1064"/>
                    <a:gd name="T48" fmla="*/ 0 w 97"/>
                    <a:gd name="T49" fmla="*/ 0 h 10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7"/>
                    <a:gd name="T76" fmla="*/ 0 h 1064"/>
                    <a:gd name="T77" fmla="*/ 97 w 97"/>
                    <a:gd name="T78" fmla="*/ 1064 h 10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7" h="1064">
                      <a:moveTo>
                        <a:pt x="0" y="0"/>
                      </a:moveTo>
                      <a:lnTo>
                        <a:pt x="23" y="0"/>
                      </a:lnTo>
                      <a:lnTo>
                        <a:pt x="51" y="0"/>
                      </a:lnTo>
                      <a:lnTo>
                        <a:pt x="73" y="0"/>
                      </a:lnTo>
                      <a:lnTo>
                        <a:pt x="97" y="0"/>
                      </a:lnTo>
                      <a:lnTo>
                        <a:pt x="97" y="132"/>
                      </a:lnTo>
                      <a:lnTo>
                        <a:pt x="97" y="265"/>
                      </a:lnTo>
                      <a:lnTo>
                        <a:pt x="97" y="397"/>
                      </a:lnTo>
                      <a:lnTo>
                        <a:pt x="97" y="534"/>
                      </a:lnTo>
                      <a:lnTo>
                        <a:pt x="97" y="667"/>
                      </a:lnTo>
                      <a:lnTo>
                        <a:pt x="97" y="799"/>
                      </a:lnTo>
                      <a:lnTo>
                        <a:pt x="97" y="932"/>
                      </a:lnTo>
                      <a:lnTo>
                        <a:pt x="97" y="1064"/>
                      </a:lnTo>
                      <a:lnTo>
                        <a:pt x="73" y="1064"/>
                      </a:lnTo>
                      <a:lnTo>
                        <a:pt x="51" y="1064"/>
                      </a:lnTo>
                      <a:lnTo>
                        <a:pt x="23" y="1064"/>
                      </a:lnTo>
                      <a:lnTo>
                        <a:pt x="0" y="1064"/>
                      </a:lnTo>
                      <a:lnTo>
                        <a:pt x="0" y="932"/>
                      </a:lnTo>
                      <a:lnTo>
                        <a:pt x="0" y="799"/>
                      </a:lnTo>
                      <a:lnTo>
                        <a:pt x="0" y="667"/>
                      </a:lnTo>
                      <a:lnTo>
                        <a:pt x="0" y="534"/>
                      </a:lnTo>
                      <a:lnTo>
                        <a:pt x="0" y="397"/>
                      </a:lnTo>
                      <a:lnTo>
                        <a:pt x="0" y="265"/>
                      </a:lnTo>
                      <a:lnTo>
                        <a:pt x="0" y="132"/>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65" name="Freeform 416"/>
                <p:cNvSpPr>
                  <a:spLocks/>
                </p:cNvSpPr>
                <p:nvPr/>
              </p:nvSpPr>
              <p:spPr bwMode="auto">
                <a:xfrm>
                  <a:off x="2737" y="2278"/>
                  <a:ext cx="18" cy="198"/>
                </a:xfrm>
                <a:custGeom>
                  <a:avLst/>
                  <a:gdLst>
                    <a:gd name="T0" fmla="*/ 0 w 92"/>
                    <a:gd name="T1" fmla="*/ 0 h 992"/>
                    <a:gd name="T2" fmla="*/ 0 w 92"/>
                    <a:gd name="T3" fmla="*/ 0 h 992"/>
                    <a:gd name="T4" fmla="*/ 1 w 92"/>
                    <a:gd name="T5" fmla="*/ 0 h 992"/>
                    <a:gd name="T6" fmla="*/ 1 w 92"/>
                    <a:gd name="T7" fmla="*/ 1 h 992"/>
                    <a:gd name="T8" fmla="*/ 1 w 92"/>
                    <a:gd name="T9" fmla="*/ 2 h 992"/>
                    <a:gd name="T10" fmla="*/ 1 w 92"/>
                    <a:gd name="T11" fmla="*/ 3 h 992"/>
                    <a:gd name="T12" fmla="*/ 1 w 92"/>
                    <a:gd name="T13" fmla="*/ 4 h 992"/>
                    <a:gd name="T14" fmla="*/ 1 w 92"/>
                    <a:gd name="T15" fmla="*/ 5 h 992"/>
                    <a:gd name="T16" fmla="*/ 1 w 92"/>
                    <a:gd name="T17" fmla="*/ 6 h 992"/>
                    <a:gd name="T18" fmla="*/ 1 w 92"/>
                    <a:gd name="T19" fmla="*/ 7 h 992"/>
                    <a:gd name="T20" fmla="*/ 1 w 92"/>
                    <a:gd name="T21" fmla="*/ 8 h 992"/>
                    <a:gd name="T22" fmla="*/ 0 w 92"/>
                    <a:gd name="T23" fmla="*/ 8 h 992"/>
                    <a:gd name="T24" fmla="*/ 0 w 92"/>
                    <a:gd name="T25" fmla="*/ 8 h 992"/>
                    <a:gd name="T26" fmla="*/ 0 w 92"/>
                    <a:gd name="T27" fmla="*/ 7 h 992"/>
                    <a:gd name="T28" fmla="*/ 0 w 92"/>
                    <a:gd name="T29" fmla="*/ 6 h 992"/>
                    <a:gd name="T30" fmla="*/ 0 w 92"/>
                    <a:gd name="T31" fmla="*/ 5 h 992"/>
                    <a:gd name="T32" fmla="*/ 0 w 92"/>
                    <a:gd name="T33" fmla="*/ 4 h 992"/>
                    <a:gd name="T34" fmla="*/ 0 w 92"/>
                    <a:gd name="T35" fmla="*/ 3 h 992"/>
                    <a:gd name="T36" fmla="*/ 0 w 92"/>
                    <a:gd name="T37" fmla="*/ 2 h 992"/>
                    <a:gd name="T38" fmla="*/ 0 w 92"/>
                    <a:gd name="T39" fmla="*/ 1 h 992"/>
                    <a:gd name="T40" fmla="*/ 0 w 92"/>
                    <a:gd name="T41" fmla="*/ 0 h 9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
                    <a:gd name="T64" fmla="*/ 0 h 992"/>
                    <a:gd name="T65" fmla="*/ 92 w 92"/>
                    <a:gd name="T66" fmla="*/ 992 h 9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 h="992">
                      <a:moveTo>
                        <a:pt x="0" y="0"/>
                      </a:moveTo>
                      <a:lnTo>
                        <a:pt x="46" y="0"/>
                      </a:lnTo>
                      <a:lnTo>
                        <a:pt x="92" y="0"/>
                      </a:lnTo>
                      <a:lnTo>
                        <a:pt x="92" y="123"/>
                      </a:lnTo>
                      <a:lnTo>
                        <a:pt x="92" y="247"/>
                      </a:lnTo>
                      <a:lnTo>
                        <a:pt x="92" y="370"/>
                      </a:lnTo>
                      <a:lnTo>
                        <a:pt x="92" y="498"/>
                      </a:lnTo>
                      <a:lnTo>
                        <a:pt x="92" y="621"/>
                      </a:lnTo>
                      <a:lnTo>
                        <a:pt x="92" y="745"/>
                      </a:lnTo>
                      <a:lnTo>
                        <a:pt x="92" y="868"/>
                      </a:lnTo>
                      <a:lnTo>
                        <a:pt x="92" y="992"/>
                      </a:lnTo>
                      <a:lnTo>
                        <a:pt x="46" y="992"/>
                      </a:lnTo>
                      <a:lnTo>
                        <a:pt x="0" y="992"/>
                      </a:lnTo>
                      <a:lnTo>
                        <a:pt x="0" y="868"/>
                      </a:lnTo>
                      <a:lnTo>
                        <a:pt x="0" y="745"/>
                      </a:lnTo>
                      <a:lnTo>
                        <a:pt x="0" y="621"/>
                      </a:lnTo>
                      <a:lnTo>
                        <a:pt x="0" y="498"/>
                      </a:lnTo>
                      <a:lnTo>
                        <a:pt x="0" y="370"/>
                      </a:lnTo>
                      <a:lnTo>
                        <a:pt x="0" y="247"/>
                      </a:lnTo>
                      <a:lnTo>
                        <a:pt x="0" y="123"/>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66" name="Freeform 417"/>
                <p:cNvSpPr>
                  <a:spLocks/>
                </p:cNvSpPr>
                <p:nvPr/>
              </p:nvSpPr>
              <p:spPr bwMode="auto">
                <a:xfrm>
                  <a:off x="2903" y="2305"/>
                  <a:ext cx="16" cy="189"/>
                </a:xfrm>
                <a:custGeom>
                  <a:avLst/>
                  <a:gdLst>
                    <a:gd name="T0" fmla="*/ 0 w 82"/>
                    <a:gd name="T1" fmla="*/ 0 h 947"/>
                    <a:gd name="T2" fmla="*/ 0 w 82"/>
                    <a:gd name="T3" fmla="*/ 0 h 947"/>
                    <a:gd name="T4" fmla="*/ 1 w 82"/>
                    <a:gd name="T5" fmla="*/ 0 h 947"/>
                    <a:gd name="T6" fmla="*/ 1 w 82"/>
                    <a:gd name="T7" fmla="*/ 1 h 947"/>
                    <a:gd name="T8" fmla="*/ 1 w 82"/>
                    <a:gd name="T9" fmla="*/ 2 h 947"/>
                    <a:gd name="T10" fmla="*/ 1 w 82"/>
                    <a:gd name="T11" fmla="*/ 3 h 947"/>
                    <a:gd name="T12" fmla="*/ 1 w 82"/>
                    <a:gd name="T13" fmla="*/ 4 h 947"/>
                    <a:gd name="T14" fmla="*/ 1 w 82"/>
                    <a:gd name="T15" fmla="*/ 5 h 947"/>
                    <a:gd name="T16" fmla="*/ 1 w 82"/>
                    <a:gd name="T17" fmla="*/ 6 h 947"/>
                    <a:gd name="T18" fmla="*/ 1 w 82"/>
                    <a:gd name="T19" fmla="*/ 7 h 947"/>
                    <a:gd name="T20" fmla="*/ 1 w 82"/>
                    <a:gd name="T21" fmla="*/ 8 h 947"/>
                    <a:gd name="T22" fmla="*/ 0 w 82"/>
                    <a:gd name="T23" fmla="*/ 8 h 947"/>
                    <a:gd name="T24" fmla="*/ 0 w 82"/>
                    <a:gd name="T25" fmla="*/ 8 h 947"/>
                    <a:gd name="T26" fmla="*/ 0 w 82"/>
                    <a:gd name="T27" fmla="*/ 7 h 947"/>
                    <a:gd name="T28" fmla="*/ 0 w 82"/>
                    <a:gd name="T29" fmla="*/ 6 h 947"/>
                    <a:gd name="T30" fmla="*/ 0 w 82"/>
                    <a:gd name="T31" fmla="*/ 5 h 947"/>
                    <a:gd name="T32" fmla="*/ 0 w 82"/>
                    <a:gd name="T33" fmla="*/ 4 h 947"/>
                    <a:gd name="T34" fmla="*/ 0 w 82"/>
                    <a:gd name="T35" fmla="*/ 3 h 947"/>
                    <a:gd name="T36" fmla="*/ 0 w 82"/>
                    <a:gd name="T37" fmla="*/ 2 h 947"/>
                    <a:gd name="T38" fmla="*/ 0 w 82"/>
                    <a:gd name="T39" fmla="*/ 1 h 947"/>
                    <a:gd name="T40" fmla="*/ 0 w 82"/>
                    <a:gd name="T41" fmla="*/ 0 h 9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947"/>
                    <a:gd name="T65" fmla="*/ 82 w 82"/>
                    <a:gd name="T66" fmla="*/ 947 h 9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947">
                      <a:moveTo>
                        <a:pt x="0" y="0"/>
                      </a:moveTo>
                      <a:lnTo>
                        <a:pt x="41" y="0"/>
                      </a:lnTo>
                      <a:lnTo>
                        <a:pt x="82" y="0"/>
                      </a:lnTo>
                      <a:lnTo>
                        <a:pt x="82" y="119"/>
                      </a:lnTo>
                      <a:lnTo>
                        <a:pt x="82" y="239"/>
                      </a:lnTo>
                      <a:lnTo>
                        <a:pt x="82" y="358"/>
                      </a:lnTo>
                      <a:lnTo>
                        <a:pt x="82" y="476"/>
                      </a:lnTo>
                      <a:lnTo>
                        <a:pt x="82" y="591"/>
                      </a:lnTo>
                      <a:lnTo>
                        <a:pt x="82" y="709"/>
                      </a:lnTo>
                      <a:lnTo>
                        <a:pt x="82" y="828"/>
                      </a:lnTo>
                      <a:lnTo>
                        <a:pt x="82" y="947"/>
                      </a:lnTo>
                      <a:lnTo>
                        <a:pt x="41" y="947"/>
                      </a:lnTo>
                      <a:lnTo>
                        <a:pt x="0" y="947"/>
                      </a:lnTo>
                      <a:lnTo>
                        <a:pt x="0" y="828"/>
                      </a:lnTo>
                      <a:lnTo>
                        <a:pt x="0" y="709"/>
                      </a:lnTo>
                      <a:lnTo>
                        <a:pt x="0" y="591"/>
                      </a:lnTo>
                      <a:lnTo>
                        <a:pt x="0" y="476"/>
                      </a:lnTo>
                      <a:lnTo>
                        <a:pt x="0" y="358"/>
                      </a:lnTo>
                      <a:lnTo>
                        <a:pt x="0" y="239"/>
                      </a:lnTo>
                      <a:lnTo>
                        <a:pt x="0" y="119"/>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67" name="Freeform 418"/>
                <p:cNvSpPr>
                  <a:spLocks/>
                </p:cNvSpPr>
                <p:nvPr/>
              </p:nvSpPr>
              <p:spPr bwMode="auto">
                <a:xfrm>
                  <a:off x="3039" y="2331"/>
                  <a:ext cx="17" cy="175"/>
                </a:xfrm>
                <a:custGeom>
                  <a:avLst/>
                  <a:gdLst>
                    <a:gd name="T0" fmla="*/ 0 w 83"/>
                    <a:gd name="T1" fmla="*/ 0 h 878"/>
                    <a:gd name="T2" fmla="*/ 0 w 83"/>
                    <a:gd name="T3" fmla="*/ 0 h 878"/>
                    <a:gd name="T4" fmla="*/ 0 w 83"/>
                    <a:gd name="T5" fmla="*/ 0 h 878"/>
                    <a:gd name="T6" fmla="*/ 0 w 83"/>
                    <a:gd name="T7" fmla="*/ 0 h 878"/>
                    <a:gd name="T8" fmla="*/ 1 w 83"/>
                    <a:gd name="T9" fmla="*/ 0 h 878"/>
                    <a:gd name="T10" fmla="*/ 1 w 83"/>
                    <a:gd name="T11" fmla="*/ 1 h 878"/>
                    <a:gd name="T12" fmla="*/ 1 w 83"/>
                    <a:gd name="T13" fmla="*/ 2 h 878"/>
                    <a:gd name="T14" fmla="*/ 1 w 83"/>
                    <a:gd name="T15" fmla="*/ 3 h 878"/>
                    <a:gd name="T16" fmla="*/ 1 w 83"/>
                    <a:gd name="T17" fmla="*/ 3 h 878"/>
                    <a:gd name="T18" fmla="*/ 1 w 83"/>
                    <a:gd name="T19" fmla="*/ 4 h 878"/>
                    <a:gd name="T20" fmla="*/ 1 w 83"/>
                    <a:gd name="T21" fmla="*/ 5 h 878"/>
                    <a:gd name="T22" fmla="*/ 1 w 83"/>
                    <a:gd name="T23" fmla="*/ 6 h 878"/>
                    <a:gd name="T24" fmla="*/ 1 w 83"/>
                    <a:gd name="T25" fmla="*/ 7 h 878"/>
                    <a:gd name="T26" fmla="*/ 0 w 83"/>
                    <a:gd name="T27" fmla="*/ 7 h 878"/>
                    <a:gd name="T28" fmla="*/ 0 w 83"/>
                    <a:gd name="T29" fmla="*/ 7 h 878"/>
                    <a:gd name="T30" fmla="*/ 0 w 83"/>
                    <a:gd name="T31" fmla="*/ 7 h 878"/>
                    <a:gd name="T32" fmla="*/ 0 w 83"/>
                    <a:gd name="T33" fmla="*/ 7 h 878"/>
                    <a:gd name="T34" fmla="*/ 0 w 83"/>
                    <a:gd name="T35" fmla="*/ 6 h 878"/>
                    <a:gd name="T36" fmla="*/ 0 w 83"/>
                    <a:gd name="T37" fmla="*/ 5 h 878"/>
                    <a:gd name="T38" fmla="*/ 0 w 83"/>
                    <a:gd name="T39" fmla="*/ 4 h 878"/>
                    <a:gd name="T40" fmla="*/ 0 w 83"/>
                    <a:gd name="T41" fmla="*/ 3 h 878"/>
                    <a:gd name="T42" fmla="*/ 0 w 83"/>
                    <a:gd name="T43" fmla="*/ 3 h 878"/>
                    <a:gd name="T44" fmla="*/ 0 w 83"/>
                    <a:gd name="T45" fmla="*/ 2 h 878"/>
                    <a:gd name="T46" fmla="*/ 0 w 83"/>
                    <a:gd name="T47" fmla="*/ 1 h 878"/>
                    <a:gd name="T48" fmla="*/ 0 w 83"/>
                    <a:gd name="T49" fmla="*/ 0 h 8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3"/>
                    <a:gd name="T76" fmla="*/ 0 h 878"/>
                    <a:gd name="T77" fmla="*/ 83 w 83"/>
                    <a:gd name="T78" fmla="*/ 878 h 8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3" h="878">
                      <a:moveTo>
                        <a:pt x="0" y="0"/>
                      </a:moveTo>
                      <a:lnTo>
                        <a:pt x="14" y="0"/>
                      </a:lnTo>
                      <a:lnTo>
                        <a:pt x="32" y="0"/>
                      </a:lnTo>
                      <a:lnTo>
                        <a:pt x="56" y="0"/>
                      </a:lnTo>
                      <a:lnTo>
                        <a:pt x="83" y="0"/>
                      </a:lnTo>
                      <a:lnTo>
                        <a:pt x="83" y="110"/>
                      </a:lnTo>
                      <a:lnTo>
                        <a:pt x="83" y="219"/>
                      </a:lnTo>
                      <a:lnTo>
                        <a:pt x="83" y="329"/>
                      </a:lnTo>
                      <a:lnTo>
                        <a:pt x="83" y="438"/>
                      </a:lnTo>
                      <a:lnTo>
                        <a:pt x="83" y="548"/>
                      </a:lnTo>
                      <a:lnTo>
                        <a:pt x="83" y="658"/>
                      </a:lnTo>
                      <a:lnTo>
                        <a:pt x="83" y="767"/>
                      </a:lnTo>
                      <a:lnTo>
                        <a:pt x="83" y="878"/>
                      </a:lnTo>
                      <a:lnTo>
                        <a:pt x="56" y="878"/>
                      </a:lnTo>
                      <a:lnTo>
                        <a:pt x="32" y="878"/>
                      </a:lnTo>
                      <a:lnTo>
                        <a:pt x="14" y="878"/>
                      </a:lnTo>
                      <a:lnTo>
                        <a:pt x="0" y="878"/>
                      </a:lnTo>
                      <a:lnTo>
                        <a:pt x="0" y="767"/>
                      </a:lnTo>
                      <a:lnTo>
                        <a:pt x="0" y="658"/>
                      </a:lnTo>
                      <a:lnTo>
                        <a:pt x="0" y="548"/>
                      </a:lnTo>
                      <a:lnTo>
                        <a:pt x="0" y="438"/>
                      </a:lnTo>
                      <a:lnTo>
                        <a:pt x="0" y="329"/>
                      </a:lnTo>
                      <a:lnTo>
                        <a:pt x="0" y="219"/>
                      </a:lnTo>
                      <a:lnTo>
                        <a:pt x="0" y="110"/>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68" name="Rectangle 419"/>
                <p:cNvSpPr>
                  <a:spLocks noChangeArrowheads="1"/>
                </p:cNvSpPr>
                <p:nvPr/>
              </p:nvSpPr>
              <p:spPr bwMode="auto">
                <a:xfrm>
                  <a:off x="3154" y="2353"/>
                  <a:ext cx="16" cy="161"/>
                </a:xfrm>
                <a:prstGeom prst="rect">
                  <a:avLst/>
                </a:prstGeom>
                <a:solidFill>
                  <a:srgbClr val="808080"/>
                </a:solidFill>
                <a:ln w="9525">
                  <a:solidFill>
                    <a:srgbClr val="808080"/>
                  </a:solid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4969" name="Freeform 420"/>
                <p:cNvSpPr>
                  <a:spLocks/>
                </p:cNvSpPr>
                <p:nvPr/>
              </p:nvSpPr>
              <p:spPr bwMode="auto">
                <a:xfrm>
                  <a:off x="1873" y="2240"/>
                  <a:ext cx="1397" cy="222"/>
                </a:xfrm>
                <a:custGeom>
                  <a:avLst/>
                  <a:gdLst>
                    <a:gd name="T0" fmla="*/ 0 w 6988"/>
                    <a:gd name="T1" fmla="*/ 0 h 1110"/>
                    <a:gd name="T2" fmla="*/ 56 w 6988"/>
                    <a:gd name="T3" fmla="*/ 8 h 1110"/>
                    <a:gd name="T4" fmla="*/ 56 w 6988"/>
                    <a:gd name="T5" fmla="*/ 9 h 1110"/>
                    <a:gd name="T6" fmla="*/ 0 w 6988"/>
                    <a:gd name="T7" fmla="*/ 1 h 1110"/>
                    <a:gd name="T8" fmla="*/ 0 w 6988"/>
                    <a:gd name="T9" fmla="*/ 0 h 1110"/>
                    <a:gd name="T10" fmla="*/ 0 60000 65536"/>
                    <a:gd name="T11" fmla="*/ 0 60000 65536"/>
                    <a:gd name="T12" fmla="*/ 0 60000 65536"/>
                    <a:gd name="T13" fmla="*/ 0 60000 65536"/>
                    <a:gd name="T14" fmla="*/ 0 60000 65536"/>
                    <a:gd name="T15" fmla="*/ 0 w 6988"/>
                    <a:gd name="T16" fmla="*/ 0 h 1110"/>
                    <a:gd name="T17" fmla="*/ 6988 w 6988"/>
                    <a:gd name="T18" fmla="*/ 1110 h 1110"/>
                  </a:gdLst>
                  <a:ahLst/>
                  <a:cxnLst>
                    <a:cxn ang="T10">
                      <a:pos x="T0" y="T1"/>
                    </a:cxn>
                    <a:cxn ang="T11">
                      <a:pos x="T2" y="T3"/>
                    </a:cxn>
                    <a:cxn ang="T12">
                      <a:pos x="T4" y="T5"/>
                    </a:cxn>
                    <a:cxn ang="T13">
                      <a:pos x="T6" y="T7"/>
                    </a:cxn>
                    <a:cxn ang="T14">
                      <a:pos x="T8" y="T9"/>
                    </a:cxn>
                  </a:cxnLst>
                  <a:rect l="T15" t="T16" r="T17" b="T18"/>
                  <a:pathLst>
                    <a:path w="6988" h="1110">
                      <a:moveTo>
                        <a:pt x="0" y="0"/>
                      </a:moveTo>
                      <a:lnTo>
                        <a:pt x="6988" y="1041"/>
                      </a:lnTo>
                      <a:lnTo>
                        <a:pt x="6988" y="1110"/>
                      </a:lnTo>
                      <a:lnTo>
                        <a:pt x="0" y="104"/>
                      </a:lnTo>
                      <a:lnTo>
                        <a:pt x="0" y="0"/>
                      </a:lnTo>
                      <a:close/>
                    </a:path>
                  </a:pathLst>
                </a:custGeom>
                <a:solidFill>
                  <a:srgbClr val="808080"/>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70" name="Freeform 421"/>
                <p:cNvSpPr>
                  <a:spLocks/>
                </p:cNvSpPr>
                <p:nvPr/>
              </p:nvSpPr>
              <p:spPr bwMode="auto">
                <a:xfrm>
                  <a:off x="1468" y="2240"/>
                  <a:ext cx="393" cy="61"/>
                </a:xfrm>
                <a:custGeom>
                  <a:avLst/>
                  <a:gdLst>
                    <a:gd name="T0" fmla="*/ 16 w 1965"/>
                    <a:gd name="T1" fmla="*/ 0 h 301"/>
                    <a:gd name="T2" fmla="*/ 0 w 1965"/>
                    <a:gd name="T3" fmla="*/ 2 h 301"/>
                    <a:gd name="T4" fmla="*/ 0 w 1965"/>
                    <a:gd name="T5" fmla="*/ 2 h 301"/>
                    <a:gd name="T6" fmla="*/ 16 w 1965"/>
                    <a:gd name="T7" fmla="*/ 1 h 301"/>
                    <a:gd name="T8" fmla="*/ 16 w 1965"/>
                    <a:gd name="T9" fmla="*/ 0 h 301"/>
                    <a:gd name="T10" fmla="*/ 0 60000 65536"/>
                    <a:gd name="T11" fmla="*/ 0 60000 65536"/>
                    <a:gd name="T12" fmla="*/ 0 60000 65536"/>
                    <a:gd name="T13" fmla="*/ 0 60000 65536"/>
                    <a:gd name="T14" fmla="*/ 0 60000 65536"/>
                    <a:gd name="T15" fmla="*/ 0 w 1965"/>
                    <a:gd name="T16" fmla="*/ 0 h 301"/>
                    <a:gd name="T17" fmla="*/ 1965 w 1965"/>
                    <a:gd name="T18" fmla="*/ 301 h 301"/>
                  </a:gdLst>
                  <a:ahLst/>
                  <a:cxnLst>
                    <a:cxn ang="T10">
                      <a:pos x="T0" y="T1"/>
                    </a:cxn>
                    <a:cxn ang="T11">
                      <a:pos x="T2" y="T3"/>
                    </a:cxn>
                    <a:cxn ang="T12">
                      <a:pos x="T4" y="T5"/>
                    </a:cxn>
                    <a:cxn ang="T13">
                      <a:pos x="T6" y="T7"/>
                    </a:cxn>
                    <a:cxn ang="T14">
                      <a:pos x="T8" y="T9"/>
                    </a:cxn>
                  </a:cxnLst>
                  <a:rect l="T15" t="T16" r="T17" b="T18"/>
                  <a:pathLst>
                    <a:path w="1965" h="301">
                      <a:moveTo>
                        <a:pt x="1965" y="0"/>
                      </a:moveTo>
                      <a:lnTo>
                        <a:pt x="0" y="241"/>
                      </a:lnTo>
                      <a:lnTo>
                        <a:pt x="0" y="301"/>
                      </a:lnTo>
                      <a:lnTo>
                        <a:pt x="1942" y="127"/>
                      </a:lnTo>
                      <a:lnTo>
                        <a:pt x="1965"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71" name="Freeform 422"/>
                <p:cNvSpPr>
                  <a:spLocks/>
                </p:cNvSpPr>
                <p:nvPr/>
              </p:nvSpPr>
              <p:spPr bwMode="auto">
                <a:xfrm>
                  <a:off x="3407" y="2296"/>
                  <a:ext cx="131" cy="69"/>
                </a:xfrm>
                <a:custGeom>
                  <a:avLst/>
                  <a:gdLst>
                    <a:gd name="T0" fmla="*/ 0 w 658"/>
                    <a:gd name="T1" fmla="*/ 2 h 346"/>
                    <a:gd name="T2" fmla="*/ 0 w 658"/>
                    <a:gd name="T3" fmla="*/ 0 h 346"/>
                    <a:gd name="T4" fmla="*/ 5 w 658"/>
                    <a:gd name="T5" fmla="*/ 0 h 346"/>
                    <a:gd name="T6" fmla="*/ 5 w 658"/>
                    <a:gd name="T7" fmla="*/ 3 h 346"/>
                    <a:gd name="T8" fmla="*/ 0 w 658"/>
                    <a:gd name="T9" fmla="*/ 2 h 346"/>
                    <a:gd name="T10" fmla="*/ 0 60000 65536"/>
                    <a:gd name="T11" fmla="*/ 0 60000 65536"/>
                    <a:gd name="T12" fmla="*/ 0 60000 65536"/>
                    <a:gd name="T13" fmla="*/ 0 60000 65536"/>
                    <a:gd name="T14" fmla="*/ 0 60000 65536"/>
                    <a:gd name="T15" fmla="*/ 0 w 658"/>
                    <a:gd name="T16" fmla="*/ 0 h 346"/>
                    <a:gd name="T17" fmla="*/ 658 w 658"/>
                    <a:gd name="T18" fmla="*/ 346 h 346"/>
                  </a:gdLst>
                  <a:ahLst/>
                  <a:cxnLst>
                    <a:cxn ang="T10">
                      <a:pos x="T0" y="T1"/>
                    </a:cxn>
                    <a:cxn ang="T11">
                      <a:pos x="T2" y="T3"/>
                    </a:cxn>
                    <a:cxn ang="T12">
                      <a:pos x="T4" y="T5"/>
                    </a:cxn>
                    <a:cxn ang="T13">
                      <a:pos x="T6" y="T7"/>
                    </a:cxn>
                    <a:cxn ang="T14">
                      <a:pos x="T8" y="T9"/>
                    </a:cxn>
                  </a:cxnLst>
                  <a:rect l="T15" t="T16" r="T17" b="T18"/>
                  <a:pathLst>
                    <a:path w="658" h="346">
                      <a:moveTo>
                        <a:pt x="0" y="310"/>
                      </a:moveTo>
                      <a:lnTo>
                        <a:pt x="32" y="54"/>
                      </a:lnTo>
                      <a:lnTo>
                        <a:pt x="644" y="0"/>
                      </a:lnTo>
                      <a:lnTo>
                        <a:pt x="658" y="346"/>
                      </a:lnTo>
                      <a:lnTo>
                        <a:pt x="0" y="31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72" name="Freeform 423"/>
                <p:cNvSpPr>
                  <a:spLocks/>
                </p:cNvSpPr>
                <p:nvPr/>
              </p:nvSpPr>
              <p:spPr bwMode="auto">
                <a:xfrm>
                  <a:off x="3413" y="2377"/>
                  <a:ext cx="139" cy="37"/>
                </a:xfrm>
                <a:custGeom>
                  <a:avLst/>
                  <a:gdLst>
                    <a:gd name="T0" fmla="*/ 0 w 694"/>
                    <a:gd name="T1" fmla="*/ 0 h 187"/>
                    <a:gd name="T2" fmla="*/ 5 w 694"/>
                    <a:gd name="T3" fmla="*/ 0 h 187"/>
                    <a:gd name="T4" fmla="*/ 6 w 694"/>
                    <a:gd name="T5" fmla="*/ 1 h 187"/>
                    <a:gd name="T6" fmla="*/ 1 w 694"/>
                    <a:gd name="T7" fmla="*/ 1 h 187"/>
                    <a:gd name="T8" fmla="*/ 0 w 694"/>
                    <a:gd name="T9" fmla="*/ 0 h 187"/>
                    <a:gd name="T10" fmla="*/ 0 60000 65536"/>
                    <a:gd name="T11" fmla="*/ 0 60000 65536"/>
                    <a:gd name="T12" fmla="*/ 0 60000 65536"/>
                    <a:gd name="T13" fmla="*/ 0 60000 65536"/>
                    <a:gd name="T14" fmla="*/ 0 60000 65536"/>
                    <a:gd name="T15" fmla="*/ 0 w 694"/>
                    <a:gd name="T16" fmla="*/ 0 h 187"/>
                    <a:gd name="T17" fmla="*/ 694 w 694"/>
                    <a:gd name="T18" fmla="*/ 187 h 187"/>
                  </a:gdLst>
                  <a:ahLst/>
                  <a:cxnLst>
                    <a:cxn ang="T10">
                      <a:pos x="T0" y="T1"/>
                    </a:cxn>
                    <a:cxn ang="T11">
                      <a:pos x="T2" y="T3"/>
                    </a:cxn>
                    <a:cxn ang="T12">
                      <a:pos x="T4" y="T5"/>
                    </a:cxn>
                    <a:cxn ang="T13">
                      <a:pos x="T6" y="T7"/>
                    </a:cxn>
                    <a:cxn ang="T14">
                      <a:pos x="T8" y="T9"/>
                    </a:cxn>
                  </a:cxnLst>
                  <a:rect l="T15" t="T16" r="T17" b="T18"/>
                  <a:pathLst>
                    <a:path w="694" h="187">
                      <a:moveTo>
                        <a:pt x="0" y="0"/>
                      </a:moveTo>
                      <a:lnTo>
                        <a:pt x="612" y="13"/>
                      </a:lnTo>
                      <a:lnTo>
                        <a:pt x="694" y="187"/>
                      </a:lnTo>
                      <a:lnTo>
                        <a:pt x="118" y="187"/>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73" name="Freeform 424"/>
                <p:cNvSpPr>
                  <a:spLocks/>
                </p:cNvSpPr>
                <p:nvPr/>
              </p:nvSpPr>
              <p:spPr bwMode="auto">
                <a:xfrm>
                  <a:off x="3425" y="2434"/>
                  <a:ext cx="122" cy="123"/>
                </a:xfrm>
                <a:custGeom>
                  <a:avLst/>
                  <a:gdLst>
                    <a:gd name="T0" fmla="*/ 1 w 612"/>
                    <a:gd name="T1" fmla="*/ 0 h 613"/>
                    <a:gd name="T2" fmla="*/ 0 w 612"/>
                    <a:gd name="T3" fmla="*/ 4 h 613"/>
                    <a:gd name="T4" fmla="*/ 5 w 612"/>
                    <a:gd name="T5" fmla="*/ 5 h 613"/>
                    <a:gd name="T6" fmla="*/ 5 w 612"/>
                    <a:gd name="T7" fmla="*/ 0 h 613"/>
                    <a:gd name="T8" fmla="*/ 1 w 612"/>
                    <a:gd name="T9" fmla="*/ 0 h 613"/>
                    <a:gd name="T10" fmla="*/ 0 60000 65536"/>
                    <a:gd name="T11" fmla="*/ 0 60000 65536"/>
                    <a:gd name="T12" fmla="*/ 0 60000 65536"/>
                    <a:gd name="T13" fmla="*/ 0 60000 65536"/>
                    <a:gd name="T14" fmla="*/ 0 60000 65536"/>
                    <a:gd name="T15" fmla="*/ 0 w 612"/>
                    <a:gd name="T16" fmla="*/ 0 h 613"/>
                    <a:gd name="T17" fmla="*/ 612 w 612"/>
                    <a:gd name="T18" fmla="*/ 613 h 613"/>
                  </a:gdLst>
                  <a:ahLst/>
                  <a:cxnLst>
                    <a:cxn ang="T10">
                      <a:pos x="T0" y="T1"/>
                    </a:cxn>
                    <a:cxn ang="T11">
                      <a:pos x="T2" y="T3"/>
                    </a:cxn>
                    <a:cxn ang="T12">
                      <a:pos x="T4" y="T5"/>
                    </a:cxn>
                    <a:cxn ang="T13">
                      <a:pos x="T6" y="T7"/>
                    </a:cxn>
                    <a:cxn ang="T14">
                      <a:pos x="T8" y="T9"/>
                    </a:cxn>
                  </a:cxnLst>
                  <a:rect l="T15" t="T16" r="T17" b="T18"/>
                  <a:pathLst>
                    <a:path w="612" h="613">
                      <a:moveTo>
                        <a:pt x="68" y="0"/>
                      </a:moveTo>
                      <a:lnTo>
                        <a:pt x="0" y="558"/>
                      </a:lnTo>
                      <a:lnTo>
                        <a:pt x="612" y="613"/>
                      </a:lnTo>
                      <a:lnTo>
                        <a:pt x="612" y="0"/>
                      </a:lnTo>
                      <a:lnTo>
                        <a:pt x="68"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74" name="Freeform 425"/>
                <p:cNvSpPr>
                  <a:spLocks/>
                </p:cNvSpPr>
                <p:nvPr/>
              </p:nvSpPr>
              <p:spPr bwMode="auto">
                <a:xfrm>
                  <a:off x="3578" y="2453"/>
                  <a:ext cx="117" cy="113"/>
                </a:xfrm>
                <a:custGeom>
                  <a:avLst/>
                  <a:gdLst>
                    <a:gd name="T0" fmla="*/ 0 w 589"/>
                    <a:gd name="T1" fmla="*/ 0 h 563"/>
                    <a:gd name="T2" fmla="*/ 0 w 589"/>
                    <a:gd name="T3" fmla="*/ 4 h 563"/>
                    <a:gd name="T4" fmla="*/ 5 w 589"/>
                    <a:gd name="T5" fmla="*/ 5 h 563"/>
                    <a:gd name="T6" fmla="*/ 5 w 589"/>
                    <a:gd name="T7" fmla="*/ 0 h 563"/>
                    <a:gd name="T8" fmla="*/ 0 w 589"/>
                    <a:gd name="T9" fmla="*/ 0 h 563"/>
                    <a:gd name="T10" fmla="*/ 0 60000 65536"/>
                    <a:gd name="T11" fmla="*/ 0 60000 65536"/>
                    <a:gd name="T12" fmla="*/ 0 60000 65536"/>
                    <a:gd name="T13" fmla="*/ 0 60000 65536"/>
                    <a:gd name="T14" fmla="*/ 0 60000 65536"/>
                    <a:gd name="T15" fmla="*/ 0 w 589"/>
                    <a:gd name="T16" fmla="*/ 0 h 563"/>
                    <a:gd name="T17" fmla="*/ 589 w 589"/>
                    <a:gd name="T18" fmla="*/ 563 h 563"/>
                  </a:gdLst>
                  <a:ahLst/>
                  <a:cxnLst>
                    <a:cxn ang="T10">
                      <a:pos x="T0" y="T1"/>
                    </a:cxn>
                    <a:cxn ang="T11">
                      <a:pos x="T2" y="T3"/>
                    </a:cxn>
                    <a:cxn ang="T12">
                      <a:pos x="T4" y="T5"/>
                    </a:cxn>
                    <a:cxn ang="T13">
                      <a:pos x="T6" y="T7"/>
                    </a:cxn>
                    <a:cxn ang="T14">
                      <a:pos x="T8" y="T9"/>
                    </a:cxn>
                  </a:cxnLst>
                  <a:rect l="T15" t="T16" r="T17" b="T18"/>
                  <a:pathLst>
                    <a:path w="589" h="563">
                      <a:moveTo>
                        <a:pt x="0" y="0"/>
                      </a:moveTo>
                      <a:lnTo>
                        <a:pt x="8" y="507"/>
                      </a:lnTo>
                      <a:lnTo>
                        <a:pt x="589" y="563"/>
                      </a:lnTo>
                      <a:lnTo>
                        <a:pt x="589" y="46"/>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75" name="Freeform 426"/>
                <p:cNvSpPr>
                  <a:spLocks/>
                </p:cNvSpPr>
                <p:nvPr/>
              </p:nvSpPr>
              <p:spPr bwMode="auto">
                <a:xfrm>
                  <a:off x="3564" y="2384"/>
                  <a:ext cx="133" cy="44"/>
                </a:xfrm>
                <a:custGeom>
                  <a:avLst/>
                  <a:gdLst>
                    <a:gd name="T0" fmla="*/ 0 w 667"/>
                    <a:gd name="T1" fmla="*/ 0 h 219"/>
                    <a:gd name="T2" fmla="*/ 5 w 667"/>
                    <a:gd name="T3" fmla="*/ 0 h 219"/>
                    <a:gd name="T4" fmla="*/ 5 w 667"/>
                    <a:gd name="T5" fmla="*/ 2 h 219"/>
                    <a:gd name="T6" fmla="*/ 1 w 667"/>
                    <a:gd name="T7" fmla="*/ 2 h 219"/>
                    <a:gd name="T8" fmla="*/ 0 w 667"/>
                    <a:gd name="T9" fmla="*/ 0 h 219"/>
                    <a:gd name="T10" fmla="*/ 0 60000 65536"/>
                    <a:gd name="T11" fmla="*/ 0 60000 65536"/>
                    <a:gd name="T12" fmla="*/ 0 60000 65536"/>
                    <a:gd name="T13" fmla="*/ 0 60000 65536"/>
                    <a:gd name="T14" fmla="*/ 0 60000 65536"/>
                    <a:gd name="T15" fmla="*/ 0 w 667"/>
                    <a:gd name="T16" fmla="*/ 0 h 219"/>
                    <a:gd name="T17" fmla="*/ 667 w 667"/>
                    <a:gd name="T18" fmla="*/ 219 h 219"/>
                  </a:gdLst>
                  <a:ahLst/>
                  <a:cxnLst>
                    <a:cxn ang="T10">
                      <a:pos x="T0" y="T1"/>
                    </a:cxn>
                    <a:cxn ang="T11">
                      <a:pos x="T2" y="T3"/>
                    </a:cxn>
                    <a:cxn ang="T12">
                      <a:pos x="T4" y="T5"/>
                    </a:cxn>
                    <a:cxn ang="T13">
                      <a:pos x="T6" y="T7"/>
                    </a:cxn>
                    <a:cxn ang="T14">
                      <a:pos x="T8" y="T9"/>
                    </a:cxn>
                  </a:cxnLst>
                  <a:rect l="T15" t="T16" r="T17" b="T18"/>
                  <a:pathLst>
                    <a:path w="667" h="219">
                      <a:moveTo>
                        <a:pt x="0" y="0"/>
                      </a:moveTo>
                      <a:lnTo>
                        <a:pt x="567" y="54"/>
                      </a:lnTo>
                      <a:lnTo>
                        <a:pt x="667" y="219"/>
                      </a:lnTo>
                      <a:lnTo>
                        <a:pt x="114" y="197"/>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76" name="Freeform 427"/>
                <p:cNvSpPr>
                  <a:spLocks/>
                </p:cNvSpPr>
                <p:nvPr/>
              </p:nvSpPr>
              <p:spPr bwMode="auto">
                <a:xfrm>
                  <a:off x="3561" y="2310"/>
                  <a:ext cx="106" cy="57"/>
                </a:xfrm>
                <a:custGeom>
                  <a:avLst/>
                  <a:gdLst>
                    <a:gd name="T0" fmla="*/ 0 w 531"/>
                    <a:gd name="T1" fmla="*/ 0 h 288"/>
                    <a:gd name="T2" fmla="*/ 0 w 531"/>
                    <a:gd name="T3" fmla="*/ 2 h 288"/>
                    <a:gd name="T4" fmla="*/ 4 w 531"/>
                    <a:gd name="T5" fmla="*/ 2 h 288"/>
                    <a:gd name="T6" fmla="*/ 4 w 531"/>
                    <a:gd name="T7" fmla="*/ 1 h 288"/>
                    <a:gd name="T8" fmla="*/ 0 w 531"/>
                    <a:gd name="T9" fmla="*/ 0 h 288"/>
                    <a:gd name="T10" fmla="*/ 0 60000 65536"/>
                    <a:gd name="T11" fmla="*/ 0 60000 65536"/>
                    <a:gd name="T12" fmla="*/ 0 60000 65536"/>
                    <a:gd name="T13" fmla="*/ 0 60000 65536"/>
                    <a:gd name="T14" fmla="*/ 0 60000 65536"/>
                    <a:gd name="T15" fmla="*/ 0 w 531"/>
                    <a:gd name="T16" fmla="*/ 0 h 288"/>
                    <a:gd name="T17" fmla="*/ 531 w 531"/>
                    <a:gd name="T18" fmla="*/ 288 h 288"/>
                  </a:gdLst>
                  <a:ahLst/>
                  <a:cxnLst>
                    <a:cxn ang="T10">
                      <a:pos x="T0" y="T1"/>
                    </a:cxn>
                    <a:cxn ang="T11">
                      <a:pos x="T2" y="T3"/>
                    </a:cxn>
                    <a:cxn ang="T12">
                      <a:pos x="T4" y="T5"/>
                    </a:cxn>
                    <a:cxn ang="T13">
                      <a:pos x="T6" y="T7"/>
                    </a:cxn>
                    <a:cxn ang="T14">
                      <a:pos x="T8" y="T9"/>
                    </a:cxn>
                  </a:cxnLst>
                  <a:rect l="T15" t="T16" r="T17" b="T18"/>
                  <a:pathLst>
                    <a:path w="531" h="288">
                      <a:moveTo>
                        <a:pt x="0" y="0"/>
                      </a:moveTo>
                      <a:lnTo>
                        <a:pt x="23" y="242"/>
                      </a:lnTo>
                      <a:lnTo>
                        <a:pt x="531" y="288"/>
                      </a:lnTo>
                      <a:lnTo>
                        <a:pt x="531" y="82"/>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977" name="Freeform 428"/>
                <p:cNvSpPr>
                  <a:spLocks/>
                </p:cNvSpPr>
                <p:nvPr/>
              </p:nvSpPr>
              <p:spPr bwMode="auto">
                <a:xfrm>
                  <a:off x="3485" y="2215"/>
                  <a:ext cx="81" cy="55"/>
                </a:xfrm>
                <a:custGeom>
                  <a:avLst/>
                  <a:gdLst>
                    <a:gd name="T0" fmla="*/ 0 w 402"/>
                    <a:gd name="T1" fmla="*/ 2 h 279"/>
                    <a:gd name="T2" fmla="*/ 0 w 402"/>
                    <a:gd name="T3" fmla="*/ 0 h 279"/>
                    <a:gd name="T4" fmla="*/ 3 w 402"/>
                    <a:gd name="T5" fmla="*/ 0 h 279"/>
                    <a:gd name="T6" fmla="*/ 3 w 402"/>
                    <a:gd name="T7" fmla="*/ 2 h 279"/>
                    <a:gd name="T8" fmla="*/ 0 w 402"/>
                    <a:gd name="T9" fmla="*/ 2 h 279"/>
                    <a:gd name="T10" fmla="*/ 0 60000 65536"/>
                    <a:gd name="T11" fmla="*/ 0 60000 65536"/>
                    <a:gd name="T12" fmla="*/ 0 60000 65536"/>
                    <a:gd name="T13" fmla="*/ 0 60000 65536"/>
                    <a:gd name="T14" fmla="*/ 0 60000 65536"/>
                    <a:gd name="T15" fmla="*/ 0 w 402"/>
                    <a:gd name="T16" fmla="*/ 0 h 279"/>
                    <a:gd name="T17" fmla="*/ 402 w 402"/>
                    <a:gd name="T18" fmla="*/ 279 h 279"/>
                  </a:gdLst>
                  <a:ahLst/>
                  <a:cxnLst>
                    <a:cxn ang="T10">
                      <a:pos x="T0" y="T1"/>
                    </a:cxn>
                    <a:cxn ang="T11">
                      <a:pos x="T2" y="T3"/>
                    </a:cxn>
                    <a:cxn ang="T12">
                      <a:pos x="T4" y="T5"/>
                    </a:cxn>
                    <a:cxn ang="T13">
                      <a:pos x="T6" y="T7"/>
                    </a:cxn>
                    <a:cxn ang="T14">
                      <a:pos x="T8" y="T9"/>
                    </a:cxn>
                  </a:cxnLst>
                  <a:rect l="T15" t="T16" r="T17" b="T18"/>
                  <a:pathLst>
                    <a:path w="402" h="279">
                      <a:moveTo>
                        <a:pt x="32" y="265"/>
                      </a:moveTo>
                      <a:lnTo>
                        <a:pt x="0" y="23"/>
                      </a:lnTo>
                      <a:lnTo>
                        <a:pt x="393" y="0"/>
                      </a:lnTo>
                      <a:lnTo>
                        <a:pt x="402" y="279"/>
                      </a:lnTo>
                      <a:lnTo>
                        <a:pt x="32" y="265"/>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78" name="Freeform 429"/>
                <p:cNvSpPr>
                  <a:spLocks/>
                </p:cNvSpPr>
                <p:nvPr/>
              </p:nvSpPr>
              <p:spPr bwMode="auto">
                <a:xfrm>
                  <a:off x="1506" y="2418"/>
                  <a:ext cx="172" cy="247"/>
                </a:xfrm>
                <a:custGeom>
                  <a:avLst/>
                  <a:gdLst>
                    <a:gd name="T0" fmla="*/ 0 w 863"/>
                    <a:gd name="T1" fmla="*/ 0 h 1235"/>
                    <a:gd name="T2" fmla="*/ 7 w 863"/>
                    <a:gd name="T3" fmla="*/ 0 h 1235"/>
                    <a:gd name="T4" fmla="*/ 7 w 863"/>
                    <a:gd name="T5" fmla="*/ 1 h 1235"/>
                    <a:gd name="T6" fmla="*/ 7 w 863"/>
                    <a:gd name="T7" fmla="*/ 2 h 1235"/>
                    <a:gd name="T8" fmla="*/ 7 w 863"/>
                    <a:gd name="T9" fmla="*/ 3 h 1235"/>
                    <a:gd name="T10" fmla="*/ 7 w 863"/>
                    <a:gd name="T11" fmla="*/ 5 h 1235"/>
                    <a:gd name="T12" fmla="*/ 6 w 863"/>
                    <a:gd name="T13" fmla="*/ 7 h 1235"/>
                    <a:gd name="T14" fmla="*/ 6 w 863"/>
                    <a:gd name="T15" fmla="*/ 8 h 1235"/>
                    <a:gd name="T16" fmla="*/ 5 w 863"/>
                    <a:gd name="T17" fmla="*/ 9 h 1235"/>
                    <a:gd name="T18" fmla="*/ 4 w 863"/>
                    <a:gd name="T19" fmla="*/ 10 h 1235"/>
                    <a:gd name="T20" fmla="*/ 3 w 863"/>
                    <a:gd name="T21" fmla="*/ 9 h 1235"/>
                    <a:gd name="T22" fmla="*/ 2 w 863"/>
                    <a:gd name="T23" fmla="*/ 8 h 1235"/>
                    <a:gd name="T24" fmla="*/ 1 w 863"/>
                    <a:gd name="T25" fmla="*/ 7 h 1235"/>
                    <a:gd name="T26" fmla="*/ 1 w 863"/>
                    <a:gd name="T27" fmla="*/ 5 h 1235"/>
                    <a:gd name="T28" fmla="*/ 1 w 863"/>
                    <a:gd name="T29" fmla="*/ 3 h 1235"/>
                    <a:gd name="T30" fmla="*/ 0 w 863"/>
                    <a:gd name="T31" fmla="*/ 2 h 1235"/>
                    <a:gd name="T32" fmla="*/ 0 w 863"/>
                    <a:gd name="T33" fmla="*/ 0 h 1235"/>
                    <a:gd name="T34" fmla="*/ 0 w 863"/>
                    <a:gd name="T35" fmla="*/ 0 h 1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63"/>
                    <a:gd name="T55" fmla="*/ 0 h 1235"/>
                    <a:gd name="T56" fmla="*/ 863 w 863"/>
                    <a:gd name="T57" fmla="*/ 1235 h 1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63" h="1235">
                      <a:moveTo>
                        <a:pt x="0" y="0"/>
                      </a:moveTo>
                      <a:lnTo>
                        <a:pt x="863" y="46"/>
                      </a:lnTo>
                      <a:lnTo>
                        <a:pt x="863" y="96"/>
                      </a:lnTo>
                      <a:lnTo>
                        <a:pt x="863" y="229"/>
                      </a:lnTo>
                      <a:lnTo>
                        <a:pt x="854" y="421"/>
                      </a:lnTo>
                      <a:lnTo>
                        <a:pt x="835" y="641"/>
                      </a:lnTo>
                      <a:lnTo>
                        <a:pt x="794" y="856"/>
                      </a:lnTo>
                      <a:lnTo>
                        <a:pt x="735" y="1047"/>
                      </a:lnTo>
                      <a:lnTo>
                        <a:pt x="648" y="1180"/>
                      </a:lnTo>
                      <a:lnTo>
                        <a:pt x="530" y="1235"/>
                      </a:lnTo>
                      <a:lnTo>
                        <a:pt x="392" y="1180"/>
                      </a:lnTo>
                      <a:lnTo>
                        <a:pt x="283" y="1038"/>
                      </a:lnTo>
                      <a:lnTo>
                        <a:pt x="187" y="842"/>
                      </a:lnTo>
                      <a:lnTo>
                        <a:pt x="118" y="618"/>
                      </a:lnTo>
                      <a:lnTo>
                        <a:pt x="63" y="389"/>
                      </a:lnTo>
                      <a:lnTo>
                        <a:pt x="26" y="193"/>
                      </a:lnTo>
                      <a:lnTo>
                        <a:pt x="4" y="50"/>
                      </a:lnTo>
                      <a:lnTo>
                        <a:pt x="0" y="0"/>
                      </a:lnTo>
                      <a:close/>
                    </a:path>
                  </a:pathLst>
                </a:custGeom>
                <a:solidFill>
                  <a:schemeClr val="bg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79" name="Freeform 430"/>
                <p:cNvSpPr>
                  <a:spLocks/>
                </p:cNvSpPr>
                <p:nvPr/>
              </p:nvSpPr>
              <p:spPr bwMode="auto">
                <a:xfrm>
                  <a:off x="3417" y="2317"/>
                  <a:ext cx="109" cy="23"/>
                </a:xfrm>
                <a:custGeom>
                  <a:avLst/>
                  <a:gdLst>
                    <a:gd name="T0" fmla="*/ 0 w 544"/>
                    <a:gd name="T1" fmla="*/ 0 h 115"/>
                    <a:gd name="T2" fmla="*/ 4 w 544"/>
                    <a:gd name="T3" fmla="*/ 0 h 115"/>
                    <a:gd name="T4" fmla="*/ 4 w 544"/>
                    <a:gd name="T5" fmla="*/ 1 h 115"/>
                    <a:gd name="T6" fmla="*/ 0 w 544"/>
                    <a:gd name="T7" fmla="*/ 1 h 115"/>
                    <a:gd name="T8" fmla="*/ 0 w 544"/>
                    <a:gd name="T9" fmla="*/ 0 h 115"/>
                    <a:gd name="T10" fmla="*/ 0 60000 65536"/>
                    <a:gd name="T11" fmla="*/ 0 60000 65536"/>
                    <a:gd name="T12" fmla="*/ 0 60000 65536"/>
                    <a:gd name="T13" fmla="*/ 0 60000 65536"/>
                    <a:gd name="T14" fmla="*/ 0 60000 65536"/>
                    <a:gd name="T15" fmla="*/ 0 w 544"/>
                    <a:gd name="T16" fmla="*/ 0 h 115"/>
                    <a:gd name="T17" fmla="*/ 544 w 544"/>
                    <a:gd name="T18" fmla="*/ 115 h 115"/>
                  </a:gdLst>
                  <a:ahLst/>
                  <a:cxnLst>
                    <a:cxn ang="T10">
                      <a:pos x="T0" y="T1"/>
                    </a:cxn>
                    <a:cxn ang="T11">
                      <a:pos x="T2" y="T3"/>
                    </a:cxn>
                    <a:cxn ang="T12">
                      <a:pos x="T4" y="T5"/>
                    </a:cxn>
                    <a:cxn ang="T13">
                      <a:pos x="T6" y="T7"/>
                    </a:cxn>
                    <a:cxn ang="T14">
                      <a:pos x="T8" y="T9"/>
                    </a:cxn>
                  </a:cxnLst>
                  <a:rect l="T15" t="T16" r="T17" b="T18"/>
                  <a:pathLst>
                    <a:path w="544" h="115">
                      <a:moveTo>
                        <a:pt x="0" y="23"/>
                      </a:moveTo>
                      <a:lnTo>
                        <a:pt x="544" y="0"/>
                      </a:lnTo>
                      <a:lnTo>
                        <a:pt x="522" y="115"/>
                      </a:lnTo>
                      <a:lnTo>
                        <a:pt x="14" y="115"/>
                      </a:lnTo>
                      <a:lnTo>
                        <a:pt x="0" y="23"/>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0" name="Freeform 431"/>
                <p:cNvSpPr>
                  <a:spLocks/>
                </p:cNvSpPr>
                <p:nvPr/>
              </p:nvSpPr>
              <p:spPr bwMode="auto">
                <a:xfrm>
                  <a:off x="2076" y="2478"/>
                  <a:ext cx="37" cy="38"/>
                </a:xfrm>
                <a:custGeom>
                  <a:avLst/>
                  <a:gdLst>
                    <a:gd name="T0" fmla="*/ 1 w 187"/>
                    <a:gd name="T1" fmla="*/ 0 h 189"/>
                    <a:gd name="T2" fmla="*/ 1 w 187"/>
                    <a:gd name="T3" fmla="*/ 0 h 189"/>
                    <a:gd name="T4" fmla="*/ 1 w 187"/>
                    <a:gd name="T5" fmla="*/ 0 h 189"/>
                    <a:gd name="T6" fmla="*/ 1 w 187"/>
                    <a:gd name="T7" fmla="*/ 0 h 189"/>
                    <a:gd name="T8" fmla="*/ 1 w 187"/>
                    <a:gd name="T9" fmla="*/ 1 h 189"/>
                    <a:gd name="T10" fmla="*/ 1 w 187"/>
                    <a:gd name="T11" fmla="*/ 1 h 189"/>
                    <a:gd name="T12" fmla="*/ 1 w 187"/>
                    <a:gd name="T13" fmla="*/ 1 h 189"/>
                    <a:gd name="T14" fmla="*/ 1 w 187"/>
                    <a:gd name="T15" fmla="*/ 1 h 189"/>
                    <a:gd name="T16" fmla="*/ 1 w 187"/>
                    <a:gd name="T17" fmla="*/ 2 h 189"/>
                    <a:gd name="T18" fmla="*/ 0 w 187"/>
                    <a:gd name="T19" fmla="*/ 1 h 189"/>
                    <a:gd name="T20" fmla="*/ 0 w 187"/>
                    <a:gd name="T21" fmla="*/ 1 h 189"/>
                    <a:gd name="T22" fmla="*/ 0 w 187"/>
                    <a:gd name="T23" fmla="*/ 1 h 189"/>
                    <a:gd name="T24" fmla="*/ 0 w 187"/>
                    <a:gd name="T25" fmla="*/ 1 h 189"/>
                    <a:gd name="T26" fmla="*/ 0 w 187"/>
                    <a:gd name="T27" fmla="*/ 0 h 189"/>
                    <a:gd name="T28" fmla="*/ 0 w 187"/>
                    <a:gd name="T29" fmla="*/ 0 h 189"/>
                    <a:gd name="T30" fmla="*/ 0 w 187"/>
                    <a:gd name="T31" fmla="*/ 0 h 189"/>
                    <a:gd name="T32" fmla="*/ 1 w 187"/>
                    <a:gd name="T33" fmla="*/ 0 h 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7"/>
                    <a:gd name="T52" fmla="*/ 0 h 189"/>
                    <a:gd name="T53" fmla="*/ 187 w 187"/>
                    <a:gd name="T54" fmla="*/ 189 h 18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7" h="189">
                      <a:moveTo>
                        <a:pt x="91" y="0"/>
                      </a:moveTo>
                      <a:lnTo>
                        <a:pt x="123" y="6"/>
                      </a:lnTo>
                      <a:lnTo>
                        <a:pt x="155" y="28"/>
                      </a:lnTo>
                      <a:lnTo>
                        <a:pt x="178" y="60"/>
                      </a:lnTo>
                      <a:lnTo>
                        <a:pt x="187" y="97"/>
                      </a:lnTo>
                      <a:lnTo>
                        <a:pt x="178" y="129"/>
                      </a:lnTo>
                      <a:lnTo>
                        <a:pt x="155" y="157"/>
                      </a:lnTo>
                      <a:lnTo>
                        <a:pt x="123" y="179"/>
                      </a:lnTo>
                      <a:lnTo>
                        <a:pt x="91" y="189"/>
                      </a:lnTo>
                      <a:lnTo>
                        <a:pt x="51" y="179"/>
                      </a:lnTo>
                      <a:lnTo>
                        <a:pt x="23" y="157"/>
                      </a:lnTo>
                      <a:lnTo>
                        <a:pt x="5" y="129"/>
                      </a:lnTo>
                      <a:lnTo>
                        <a:pt x="0" y="97"/>
                      </a:lnTo>
                      <a:lnTo>
                        <a:pt x="5" y="60"/>
                      </a:lnTo>
                      <a:lnTo>
                        <a:pt x="23" y="28"/>
                      </a:lnTo>
                      <a:lnTo>
                        <a:pt x="51" y="6"/>
                      </a:lnTo>
                      <a:lnTo>
                        <a:pt x="91"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1" name="Freeform 432"/>
                <p:cNvSpPr>
                  <a:spLocks/>
                </p:cNvSpPr>
                <p:nvPr/>
              </p:nvSpPr>
              <p:spPr bwMode="auto">
                <a:xfrm>
                  <a:off x="2441" y="2506"/>
                  <a:ext cx="34" cy="35"/>
                </a:xfrm>
                <a:custGeom>
                  <a:avLst/>
                  <a:gdLst>
                    <a:gd name="T0" fmla="*/ 1 w 173"/>
                    <a:gd name="T1" fmla="*/ 0 h 173"/>
                    <a:gd name="T2" fmla="*/ 1 w 173"/>
                    <a:gd name="T3" fmla="*/ 0 h 173"/>
                    <a:gd name="T4" fmla="*/ 1 w 173"/>
                    <a:gd name="T5" fmla="*/ 0 h 173"/>
                    <a:gd name="T6" fmla="*/ 1 w 173"/>
                    <a:gd name="T7" fmla="*/ 0 h 173"/>
                    <a:gd name="T8" fmla="*/ 1 w 173"/>
                    <a:gd name="T9" fmla="*/ 1 h 173"/>
                    <a:gd name="T10" fmla="*/ 1 w 173"/>
                    <a:gd name="T11" fmla="*/ 1 h 173"/>
                    <a:gd name="T12" fmla="*/ 1 w 173"/>
                    <a:gd name="T13" fmla="*/ 1 h 173"/>
                    <a:gd name="T14" fmla="*/ 1 w 173"/>
                    <a:gd name="T15" fmla="*/ 1 h 173"/>
                    <a:gd name="T16" fmla="*/ 1 w 173"/>
                    <a:gd name="T17" fmla="*/ 1 h 173"/>
                    <a:gd name="T18" fmla="*/ 0 w 173"/>
                    <a:gd name="T19" fmla="*/ 1 h 173"/>
                    <a:gd name="T20" fmla="*/ 0 w 173"/>
                    <a:gd name="T21" fmla="*/ 1 h 173"/>
                    <a:gd name="T22" fmla="*/ 0 w 173"/>
                    <a:gd name="T23" fmla="*/ 1 h 173"/>
                    <a:gd name="T24" fmla="*/ 0 w 173"/>
                    <a:gd name="T25" fmla="*/ 1 h 173"/>
                    <a:gd name="T26" fmla="*/ 0 w 173"/>
                    <a:gd name="T27" fmla="*/ 0 h 173"/>
                    <a:gd name="T28" fmla="*/ 0 w 173"/>
                    <a:gd name="T29" fmla="*/ 0 h 173"/>
                    <a:gd name="T30" fmla="*/ 0 w 173"/>
                    <a:gd name="T31" fmla="*/ 0 h 173"/>
                    <a:gd name="T32" fmla="*/ 1 w 173"/>
                    <a:gd name="T33" fmla="*/ 0 h 1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3"/>
                    <a:gd name="T52" fmla="*/ 0 h 173"/>
                    <a:gd name="T53" fmla="*/ 173 w 173"/>
                    <a:gd name="T54" fmla="*/ 173 h 1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3" h="173">
                      <a:moveTo>
                        <a:pt x="95" y="0"/>
                      </a:moveTo>
                      <a:lnTo>
                        <a:pt x="123" y="4"/>
                      </a:lnTo>
                      <a:lnTo>
                        <a:pt x="150" y="26"/>
                      </a:lnTo>
                      <a:lnTo>
                        <a:pt x="164" y="54"/>
                      </a:lnTo>
                      <a:lnTo>
                        <a:pt x="173" y="90"/>
                      </a:lnTo>
                      <a:lnTo>
                        <a:pt x="164" y="118"/>
                      </a:lnTo>
                      <a:lnTo>
                        <a:pt x="150" y="146"/>
                      </a:lnTo>
                      <a:lnTo>
                        <a:pt x="123" y="164"/>
                      </a:lnTo>
                      <a:lnTo>
                        <a:pt x="95" y="173"/>
                      </a:lnTo>
                      <a:lnTo>
                        <a:pt x="58" y="164"/>
                      </a:lnTo>
                      <a:lnTo>
                        <a:pt x="26" y="146"/>
                      </a:lnTo>
                      <a:lnTo>
                        <a:pt x="4" y="118"/>
                      </a:lnTo>
                      <a:lnTo>
                        <a:pt x="0" y="90"/>
                      </a:lnTo>
                      <a:lnTo>
                        <a:pt x="4" y="54"/>
                      </a:lnTo>
                      <a:lnTo>
                        <a:pt x="26" y="26"/>
                      </a:lnTo>
                      <a:lnTo>
                        <a:pt x="58" y="4"/>
                      </a:lnTo>
                      <a:lnTo>
                        <a:pt x="95"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2" name="Freeform 433"/>
                <p:cNvSpPr>
                  <a:spLocks/>
                </p:cNvSpPr>
                <p:nvPr/>
              </p:nvSpPr>
              <p:spPr bwMode="auto">
                <a:xfrm>
                  <a:off x="2702" y="2527"/>
                  <a:ext cx="32" cy="32"/>
                </a:xfrm>
                <a:custGeom>
                  <a:avLst/>
                  <a:gdLst>
                    <a:gd name="T0" fmla="*/ 1 w 159"/>
                    <a:gd name="T1" fmla="*/ 0 h 161"/>
                    <a:gd name="T2" fmla="*/ 1 w 159"/>
                    <a:gd name="T3" fmla="*/ 0 h 161"/>
                    <a:gd name="T4" fmla="*/ 1 w 159"/>
                    <a:gd name="T5" fmla="*/ 0 h 161"/>
                    <a:gd name="T6" fmla="*/ 1 w 159"/>
                    <a:gd name="T7" fmla="*/ 0 h 161"/>
                    <a:gd name="T8" fmla="*/ 1 w 159"/>
                    <a:gd name="T9" fmla="*/ 1 h 161"/>
                    <a:gd name="T10" fmla="*/ 1 w 159"/>
                    <a:gd name="T11" fmla="*/ 1 h 161"/>
                    <a:gd name="T12" fmla="*/ 1 w 159"/>
                    <a:gd name="T13" fmla="*/ 1 h 161"/>
                    <a:gd name="T14" fmla="*/ 1 w 159"/>
                    <a:gd name="T15" fmla="*/ 1 h 161"/>
                    <a:gd name="T16" fmla="*/ 1 w 159"/>
                    <a:gd name="T17" fmla="*/ 1 h 161"/>
                    <a:gd name="T18" fmla="*/ 0 w 159"/>
                    <a:gd name="T19" fmla="*/ 1 h 161"/>
                    <a:gd name="T20" fmla="*/ 0 w 159"/>
                    <a:gd name="T21" fmla="*/ 1 h 161"/>
                    <a:gd name="T22" fmla="*/ 0 w 159"/>
                    <a:gd name="T23" fmla="*/ 1 h 161"/>
                    <a:gd name="T24" fmla="*/ 0 w 159"/>
                    <a:gd name="T25" fmla="*/ 1 h 161"/>
                    <a:gd name="T26" fmla="*/ 0 w 159"/>
                    <a:gd name="T27" fmla="*/ 0 h 161"/>
                    <a:gd name="T28" fmla="*/ 0 w 159"/>
                    <a:gd name="T29" fmla="*/ 0 h 161"/>
                    <a:gd name="T30" fmla="*/ 0 w 159"/>
                    <a:gd name="T31" fmla="*/ 0 h 161"/>
                    <a:gd name="T32" fmla="*/ 1 w 159"/>
                    <a:gd name="T33" fmla="*/ 0 h 1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9"/>
                    <a:gd name="T52" fmla="*/ 0 h 161"/>
                    <a:gd name="T53" fmla="*/ 159 w 159"/>
                    <a:gd name="T54" fmla="*/ 161 h 1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9" h="161">
                      <a:moveTo>
                        <a:pt x="81" y="0"/>
                      </a:moveTo>
                      <a:lnTo>
                        <a:pt x="109" y="0"/>
                      </a:lnTo>
                      <a:lnTo>
                        <a:pt x="137" y="19"/>
                      </a:lnTo>
                      <a:lnTo>
                        <a:pt x="151" y="42"/>
                      </a:lnTo>
                      <a:lnTo>
                        <a:pt x="159" y="78"/>
                      </a:lnTo>
                      <a:lnTo>
                        <a:pt x="151" y="105"/>
                      </a:lnTo>
                      <a:lnTo>
                        <a:pt x="137" y="133"/>
                      </a:lnTo>
                      <a:lnTo>
                        <a:pt x="109" y="151"/>
                      </a:lnTo>
                      <a:lnTo>
                        <a:pt x="81" y="161"/>
                      </a:lnTo>
                      <a:lnTo>
                        <a:pt x="45" y="151"/>
                      </a:lnTo>
                      <a:lnTo>
                        <a:pt x="22" y="133"/>
                      </a:lnTo>
                      <a:lnTo>
                        <a:pt x="4" y="105"/>
                      </a:lnTo>
                      <a:lnTo>
                        <a:pt x="0" y="78"/>
                      </a:lnTo>
                      <a:lnTo>
                        <a:pt x="4" y="42"/>
                      </a:lnTo>
                      <a:lnTo>
                        <a:pt x="22" y="19"/>
                      </a:lnTo>
                      <a:lnTo>
                        <a:pt x="45" y="0"/>
                      </a:lnTo>
                      <a:lnTo>
                        <a:pt x="81"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3" name="Freeform 434"/>
                <p:cNvSpPr>
                  <a:spLocks/>
                </p:cNvSpPr>
                <p:nvPr/>
              </p:nvSpPr>
              <p:spPr bwMode="auto">
                <a:xfrm>
                  <a:off x="2903" y="2543"/>
                  <a:ext cx="32" cy="30"/>
                </a:xfrm>
                <a:custGeom>
                  <a:avLst/>
                  <a:gdLst>
                    <a:gd name="T0" fmla="*/ 1 w 160"/>
                    <a:gd name="T1" fmla="*/ 0 h 151"/>
                    <a:gd name="T2" fmla="*/ 1 w 160"/>
                    <a:gd name="T3" fmla="*/ 0 h 151"/>
                    <a:gd name="T4" fmla="*/ 1 w 160"/>
                    <a:gd name="T5" fmla="*/ 0 h 151"/>
                    <a:gd name="T6" fmla="*/ 1 w 160"/>
                    <a:gd name="T7" fmla="*/ 0 h 151"/>
                    <a:gd name="T8" fmla="*/ 1 w 160"/>
                    <a:gd name="T9" fmla="*/ 1 h 151"/>
                    <a:gd name="T10" fmla="*/ 1 w 160"/>
                    <a:gd name="T11" fmla="*/ 1 h 151"/>
                    <a:gd name="T12" fmla="*/ 1 w 160"/>
                    <a:gd name="T13" fmla="*/ 1 h 151"/>
                    <a:gd name="T14" fmla="*/ 1 w 160"/>
                    <a:gd name="T15" fmla="*/ 1 h 151"/>
                    <a:gd name="T16" fmla="*/ 1 w 160"/>
                    <a:gd name="T17" fmla="*/ 1 h 151"/>
                    <a:gd name="T18" fmla="*/ 0 w 160"/>
                    <a:gd name="T19" fmla="*/ 1 h 151"/>
                    <a:gd name="T20" fmla="*/ 0 w 160"/>
                    <a:gd name="T21" fmla="*/ 1 h 151"/>
                    <a:gd name="T22" fmla="*/ 0 w 160"/>
                    <a:gd name="T23" fmla="*/ 1 h 151"/>
                    <a:gd name="T24" fmla="*/ 0 w 160"/>
                    <a:gd name="T25" fmla="*/ 1 h 151"/>
                    <a:gd name="T26" fmla="*/ 0 w 160"/>
                    <a:gd name="T27" fmla="*/ 0 h 151"/>
                    <a:gd name="T28" fmla="*/ 0 w 160"/>
                    <a:gd name="T29" fmla="*/ 0 h 151"/>
                    <a:gd name="T30" fmla="*/ 0 w 160"/>
                    <a:gd name="T31" fmla="*/ 0 h 151"/>
                    <a:gd name="T32" fmla="*/ 1 w 160"/>
                    <a:gd name="T33" fmla="*/ 0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0"/>
                    <a:gd name="T52" fmla="*/ 0 h 151"/>
                    <a:gd name="T53" fmla="*/ 160 w 160"/>
                    <a:gd name="T54" fmla="*/ 151 h 1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0" h="151">
                      <a:moveTo>
                        <a:pt x="82" y="0"/>
                      </a:moveTo>
                      <a:lnTo>
                        <a:pt x="105" y="5"/>
                      </a:lnTo>
                      <a:lnTo>
                        <a:pt x="132" y="19"/>
                      </a:lnTo>
                      <a:lnTo>
                        <a:pt x="150" y="41"/>
                      </a:lnTo>
                      <a:lnTo>
                        <a:pt x="160" y="69"/>
                      </a:lnTo>
                      <a:lnTo>
                        <a:pt x="150" y="97"/>
                      </a:lnTo>
                      <a:lnTo>
                        <a:pt x="132" y="123"/>
                      </a:lnTo>
                      <a:lnTo>
                        <a:pt x="105" y="142"/>
                      </a:lnTo>
                      <a:lnTo>
                        <a:pt x="82" y="151"/>
                      </a:lnTo>
                      <a:lnTo>
                        <a:pt x="45" y="142"/>
                      </a:lnTo>
                      <a:lnTo>
                        <a:pt x="18" y="123"/>
                      </a:lnTo>
                      <a:lnTo>
                        <a:pt x="0" y="97"/>
                      </a:lnTo>
                      <a:lnTo>
                        <a:pt x="0" y="69"/>
                      </a:lnTo>
                      <a:lnTo>
                        <a:pt x="0" y="41"/>
                      </a:lnTo>
                      <a:lnTo>
                        <a:pt x="18" y="19"/>
                      </a:lnTo>
                      <a:lnTo>
                        <a:pt x="45" y="5"/>
                      </a:lnTo>
                      <a:lnTo>
                        <a:pt x="82"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4" name="Freeform 435"/>
                <p:cNvSpPr>
                  <a:spLocks/>
                </p:cNvSpPr>
                <p:nvPr/>
              </p:nvSpPr>
              <p:spPr bwMode="auto">
                <a:xfrm>
                  <a:off x="3069" y="2555"/>
                  <a:ext cx="28" cy="30"/>
                </a:xfrm>
                <a:custGeom>
                  <a:avLst/>
                  <a:gdLst>
                    <a:gd name="T0" fmla="*/ 1 w 138"/>
                    <a:gd name="T1" fmla="*/ 0 h 151"/>
                    <a:gd name="T2" fmla="*/ 1 w 138"/>
                    <a:gd name="T3" fmla="*/ 0 h 151"/>
                    <a:gd name="T4" fmla="*/ 1 w 138"/>
                    <a:gd name="T5" fmla="*/ 0 h 151"/>
                    <a:gd name="T6" fmla="*/ 1 w 138"/>
                    <a:gd name="T7" fmla="*/ 0 h 151"/>
                    <a:gd name="T8" fmla="*/ 1 w 138"/>
                    <a:gd name="T9" fmla="*/ 1 h 151"/>
                    <a:gd name="T10" fmla="*/ 1 w 138"/>
                    <a:gd name="T11" fmla="*/ 1 h 151"/>
                    <a:gd name="T12" fmla="*/ 1 w 138"/>
                    <a:gd name="T13" fmla="*/ 1 h 151"/>
                    <a:gd name="T14" fmla="*/ 1 w 138"/>
                    <a:gd name="T15" fmla="*/ 1 h 151"/>
                    <a:gd name="T16" fmla="*/ 1 w 138"/>
                    <a:gd name="T17" fmla="*/ 1 h 151"/>
                    <a:gd name="T18" fmla="*/ 0 w 138"/>
                    <a:gd name="T19" fmla="*/ 1 h 151"/>
                    <a:gd name="T20" fmla="*/ 0 w 138"/>
                    <a:gd name="T21" fmla="*/ 1 h 151"/>
                    <a:gd name="T22" fmla="*/ 0 w 138"/>
                    <a:gd name="T23" fmla="*/ 1 h 151"/>
                    <a:gd name="T24" fmla="*/ 0 w 138"/>
                    <a:gd name="T25" fmla="*/ 1 h 151"/>
                    <a:gd name="T26" fmla="*/ 0 w 138"/>
                    <a:gd name="T27" fmla="*/ 0 h 151"/>
                    <a:gd name="T28" fmla="*/ 0 w 138"/>
                    <a:gd name="T29" fmla="*/ 0 h 151"/>
                    <a:gd name="T30" fmla="*/ 0 w 138"/>
                    <a:gd name="T31" fmla="*/ 0 h 151"/>
                    <a:gd name="T32" fmla="*/ 1 w 138"/>
                    <a:gd name="T33" fmla="*/ 0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8"/>
                    <a:gd name="T52" fmla="*/ 0 h 151"/>
                    <a:gd name="T53" fmla="*/ 138 w 138"/>
                    <a:gd name="T54" fmla="*/ 151 h 1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8" h="151">
                      <a:moveTo>
                        <a:pt x="70" y="0"/>
                      </a:moveTo>
                      <a:lnTo>
                        <a:pt x="92" y="0"/>
                      </a:lnTo>
                      <a:lnTo>
                        <a:pt x="114" y="18"/>
                      </a:lnTo>
                      <a:lnTo>
                        <a:pt x="128" y="46"/>
                      </a:lnTo>
                      <a:lnTo>
                        <a:pt x="138" y="83"/>
                      </a:lnTo>
                      <a:lnTo>
                        <a:pt x="128" y="106"/>
                      </a:lnTo>
                      <a:lnTo>
                        <a:pt x="114" y="129"/>
                      </a:lnTo>
                      <a:lnTo>
                        <a:pt x="92" y="142"/>
                      </a:lnTo>
                      <a:lnTo>
                        <a:pt x="70" y="151"/>
                      </a:lnTo>
                      <a:lnTo>
                        <a:pt x="42" y="142"/>
                      </a:lnTo>
                      <a:lnTo>
                        <a:pt x="18" y="129"/>
                      </a:lnTo>
                      <a:lnTo>
                        <a:pt x="0" y="106"/>
                      </a:lnTo>
                      <a:lnTo>
                        <a:pt x="0" y="83"/>
                      </a:lnTo>
                      <a:lnTo>
                        <a:pt x="0" y="46"/>
                      </a:lnTo>
                      <a:lnTo>
                        <a:pt x="18" y="18"/>
                      </a:lnTo>
                      <a:lnTo>
                        <a:pt x="42" y="0"/>
                      </a:lnTo>
                      <a:lnTo>
                        <a:pt x="70"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985" name="Freeform 436"/>
                <p:cNvSpPr>
                  <a:spLocks/>
                </p:cNvSpPr>
                <p:nvPr/>
              </p:nvSpPr>
              <p:spPr bwMode="auto">
                <a:xfrm>
                  <a:off x="3207" y="2566"/>
                  <a:ext cx="29" cy="28"/>
                </a:xfrm>
                <a:custGeom>
                  <a:avLst/>
                  <a:gdLst>
                    <a:gd name="T0" fmla="*/ 1 w 142"/>
                    <a:gd name="T1" fmla="*/ 0 h 141"/>
                    <a:gd name="T2" fmla="*/ 1 w 142"/>
                    <a:gd name="T3" fmla="*/ 0 h 141"/>
                    <a:gd name="T4" fmla="*/ 1 w 142"/>
                    <a:gd name="T5" fmla="*/ 0 h 141"/>
                    <a:gd name="T6" fmla="*/ 1 w 142"/>
                    <a:gd name="T7" fmla="*/ 0 h 141"/>
                    <a:gd name="T8" fmla="*/ 1 w 142"/>
                    <a:gd name="T9" fmla="*/ 1 h 141"/>
                    <a:gd name="T10" fmla="*/ 1 w 142"/>
                    <a:gd name="T11" fmla="*/ 1 h 141"/>
                    <a:gd name="T12" fmla="*/ 1 w 142"/>
                    <a:gd name="T13" fmla="*/ 1 h 141"/>
                    <a:gd name="T14" fmla="*/ 1 w 142"/>
                    <a:gd name="T15" fmla="*/ 1 h 141"/>
                    <a:gd name="T16" fmla="*/ 1 w 142"/>
                    <a:gd name="T17" fmla="*/ 1 h 141"/>
                    <a:gd name="T18" fmla="*/ 0 w 142"/>
                    <a:gd name="T19" fmla="*/ 1 h 141"/>
                    <a:gd name="T20" fmla="*/ 0 w 142"/>
                    <a:gd name="T21" fmla="*/ 1 h 141"/>
                    <a:gd name="T22" fmla="*/ 0 w 142"/>
                    <a:gd name="T23" fmla="*/ 1 h 141"/>
                    <a:gd name="T24" fmla="*/ 0 w 142"/>
                    <a:gd name="T25" fmla="*/ 1 h 141"/>
                    <a:gd name="T26" fmla="*/ 0 w 142"/>
                    <a:gd name="T27" fmla="*/ 0 h 141"/>
                    <a:gd name="T28" fmla="*/ 0 w 142"/>
                    <a:gd name="T29" fmla="*/ 0 h 141"/>
                    <a:gd name="T30" fmla="*/ 0 w 142"/>
                    <a:gd name="T31" fmla="*/ 0 h 141"/>
                    <a:gd name="T32" fmla="*/ 1 w 142"/>
                    <a:gd name="T33" fmla="*/ 0 h 1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2"/>
                    <a:gd name="T52" fmla="*/ 0 h 141"/>
                    <a:gd name="T53" fmla="*/ 142 w 142"/>
                    <a:gd name="T54" fmla="*/ 141 h 1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2" h="141">
                      <a:moveTo>
                        <a:pt x="72" y="0"/>
                      </a:moveTo>
                      <a:lnTo>
                        <a:pt x="100" y="4"/>
                      </a:lnTo>
                      <a:lnTo>
                        <a:pt x="122" y="22"/>
                      </a:lnTo>
                      <a:lnTo>
                        <a:pt x="132" y="45"/>
                      </a:lnTo>
                      <a:lnTo>
                        <a:pt x="142" y="73"/>
                      </a:lnTo>
                      <a:lnTo>
                        <a:pt x="132" y="95"/>
                      </a:lnTo>
                      <a:lnTo>
                        <a:pt x="122" y="119"/>
                      </a:lnTo>
                      <a:lnTo>
                        <a:pt x="100" y="132"/>
                      </a:lnTo>
                      <a:lnTo>
                        <a:pt x="72" y="141"/>
                      </a:lnTo>
                      <a:lnTo>
                        <a:pt x="45" y="132"/>
                      </a:lnTo>
                      <a:lnTo>
                        <a:pt x="22" y="119"/>
                      </a:lnTo>
                      <a:lnTo>
                        <a:pt x="4" y="95"/>
                      </a:lnTo>
                      <a:lnTo>
                        <a:pt x="0" y="73"/>
                      </a:lnTo>
                      <a:lnTo>
                        <a:pt x="4" y="45"/>
                      </a:lnTo>
                      <a:lnTo>
                        <a:pt x="22" y="22"/>
                      </a:lnTo>
                      <a:lnTo>
                        <a:pt x="45" y="4"/>
                      </a:lnTo>
                      <a:lnTo>
                        <a:pt x="72"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grpSp>
          <p:sp>
            <p:nvSpPr>
              <p:cNvPr id="24952" name="Oval 437"/>
              <p:cNvSpPr>
                <a:spLocks noChangeArrowheads="1"/>
              </p:cNvSpPr>
              <p:nvPr/>
            </p:nvSpPr>
            <p:spPr bwMode="auto">
              <a:xfrm>
                <a:off x="59" y="3929"/>
                <a:ext cx="35" cy="37"/>
              </a:xfrm>
              <a:prstGeom prst="ellipse">
                <a:avLst/>
              </a:prstGeom>
              <a:solidFill>
                <a:srgbClr val="808080"/>
              </a:solidFill>
              <a:ln w="9525">
                <a:noFill/>
                <a:round/>
                <a:headEnd/>
                <a:tailEnd/>
              </a:ln>
            </p:spPr>
            <p:txBody>
              <a:bodyPr wrap="none" anchor="ctr"/>
              <a:lstStyle/>
              <a:p>
                <a:pPr algn="ctr" fontAlgn="base">
                  <a:spcBef>
                    <a:spcPct val="0"/>
                  </a:spcBef>
                  <a:spcAft>
                    <a:spcPct val="0"/>
                  </a:spcAft>
                </a:pPr>
                <a:endParaRPr lang="en-US" dirty="0">
                  <a:solidFill>
                    <a:srgbClr val="000000"/>
                  </a:solidFill>
                </a:endParaRPr>
              </a:p>
            </p:txBody>
          </p:sp>
        </p:grpSp>
        <p:sp>
          <p:nvSpPr>
            <p:cNvPr id="24614" name="Rectangle 441"/>
            <p:cNvSpPr>
              <a:spLocks noChangeArrowheads="1"/>
            </p:cNvSpPr>
            <p:nvPr>
              <p:custDataLst>
                <p:tags r:id="rId56"/>
              </p:custDataLst>
            </p:nvPr>
          </p:nvSpPr>
          <p:spPr bwMode="gray">
            <a:xfrm>
              <a:off x="1824038" y="1604963"/>
              <a:ext cx="1116012" cy="305586"/>
            </a:xfrm>
            <a:prstGeom prst="rect">
              <a:avLst/>
            </a:prstGeom>
            <a:noFill/>
            <a:ln w="9525">
              <a:noFill/>
              <a:miter lim="800000"/>
              <a:headEnd/>
              <a:tailEnd/>
            </a:ln>
          </p:spPr>
          <p:txBody>
            <a:bodyPr lIns="0" tIns="0" rIns="0" bIns="0">
              <a:spAutoFit/>
            </a:bodyPr>
            <a:lstStyle/>
            <a:p>
              <a:pPr marL="342900" indent="-342900" algn="ctr" defTabSz="912813" eaLnBrk="0" fontAlgn="base" hangingPunct="0">
                <a:spcBef>
                  <a:spcPct val="0"/>
                </a:spcBef>
                <a:spcAft>
                  <a:spcPct val="0"/>
                </a:spcAft>
                <a:buClr>
                  <a:srgbClr val="000000"/>
                </a:buClr>
              </a:pPr>
              <a:r>
                <a:rPr lang="en-US" sz="900" dirty="0">
                  <a:solidFill>
                    <a:srgbClr val="69B8D6"/>
                  </a:solidFill>
                </a:rPr>
                <a:t>Buoy/pilot station</a:t>
              </a:r>
              <a:endParaRPr lang="en-US" sz="800" dirty="0">
                <a:solidFill>
                  <a:srgbClr val="808080"/>
                </a:solidFill>
              </a:endParaRPr>
            </a:p>
          </p:txBody>
        </p:sp>
        <p:grpSp>
          <p:nvGrpSpPr>
            <p:cNvPr id="21" name="Group 741"/>
            <p:cNvGrpSpPr>
              <a:grpSpLocks/>
            </p:cNvGrpSpPr>
            <p:nvPr>
              <p:custDataLst>
                <p:tags r:id="rId57"/>
              </p:custDataLst>
            </p:nvPr>
          </p:nvGrpSpPr>
          <p:grpSpPr bwMode="auto">
            <a:xfrm>
              <a:off x="530225" y="1382713"/>
              <a:ext cx="981075" cy="584200"/>
              <a:chOff x="0" y="3329"/>
              <a:chExt cx="3332" cy="1367"/>
            </a:xfrm>
          </p:grpSpPr>
          <p:grpSp>
            <p:nvGrpSpPr>
              <p:cNvPr id="22" name="Group 742"/>
              <p:cNvGrpSpPr>
                <a:grpSpLocks/>
              </p:cNvGrpSpPr>
              <p:nvPr/>
            </p:nvGrpSpPr>
            <p:grpSpPr bwMode="auto">
              <a:xfrm flipH="1">
                <a:off x="0" y="3329"/>
                <a:ext cx="3332" cy="1367"/>
                <a:chOff x="1047" y="1902"/>
                <a:chExt cx="2780" cy="1140"/>
              </a:xfrm>
            </p:grpSpPr>
            <p:sp>
              <p:nvSpPr>
                <p:cNvPr id="24622" name="AutoShape 743"/>
                <p:cNvSpPr>
                  <a:spLocks noChangeAspect="1" noChangeArrowheads="1" noTextEdit="1"/>
                </p:cNvSpPr>
                <p:nvPr/>
              </p:nvSpPr>
              <p:spPr bwMode="auto">
                <a:xfrm>
                  <a:off x="1053" y="1902"/>
                  <a:ext cx="2774" cy="1140"/>
                </a:xfrm>
                <a:prstGeom prst="rect">
                  <a:avLst/>
                </a:prstGeom>
                <a:noFill/>
                <a:ln w="9525">
                  <a:noFill/>
                  <a:miter lim="800000"/>
                  <a:headEnd/>
                  <a:tailEnd/>
                </a:ln>
              </p:spPr>
              <p:txBody>
                <a:bodyPr/>
                <a:lstStyle/>
                <a:p>
                  <a:pPr fontAlgn="base">
                    <a:spcBef>
                      <a:spcPct val="0"/>
                    </a:spcBef>
                    <a:spcAft>
                      <a:spcPct val="0"/>
                    </a:spcAft>
                  </a:pPr>
                  <a:endParaRPr lang="en-US" sz="1400" b="1" dirty="0">
                    <a:solidFill>
                      <a:srgbClr val="000000"/>
                    </a:solidFill>
                  </a:endParaRPr>
                </a:p>
              </p:txBody>
            </p:sp>
            <p:sp>
              <p:nvSpPr>
                <p:cNvPr id="24623" name="Freeform 744"/>
                <p:cNvSpPr>
                  <a:spLocks/>
                </p:cNvSpPr>
                <p:nvPr/>
              </p:nvSpPr>
              <p:spPr bwMode="auto">
                <a:xfrm>
                  <a:off x="1047" y="1949"/>
                  <a:ext cx="2697" cy="864"/>
                </a:xfrm>
                <a:custGeom>
                  <a:avLst/>
                  <a:gdLst>
                    <a:gd name="T0" fmla="*/ 0 w 13482"/>
                    <a:gd name="T1" fmla="*/ 18 h 4320"/>
                    <a:gd name="T2" fmla="*/ 3 w 13482"/>
                    <a:gd name="T3" fmla="*/ 23 h 4320"/>
                    <a:gd name="T4" fmla="*/ 7 w 13482"/>
                    <a:gd name="T5" fmla="*/ 29 h 4320"/>
                    <a:gd name="T6" fmla="*/ 12 w 13482"/>
                    <a:gd name="T7" fmla="*/ 34 h 4320"/>
                    <a:gd name="T8" fmla="*/ 22 w 13482"/>
                    <a:gd name="T9" fmla="*/ 35 h 4320"/>
                    <a:gd name="T10" fmla="*/ 48 w 13482"/>
                    <a:gd name="T11" fmla="*/ 34 h 4320"/>
                    <a:gd name="T12" fmla="*/ 80 w 13482"/>
                    <a:gd name="T13" fmla="*/ 34 h 4320"/>
                    <a:gd name="T14" fmla="*/ 104 w 13482"/>
                    <a:gd name="T15" fmla="*/ 34 h 4320"/>
                    <a:gd name="T16" fmla="*/ 108 w 13482"/>
                    <a:gd name="T17" fmla="*/ 25 h 4320"/>
                    <a:gd name="T18" fmla="*/ 107 w 13482"/>
                    <a:gd name="T19" fmla="*/ 19 h 4320"/>
                    <a:gd name="T20" fmla="*/ 106 w 13482"/>
                    <a:gd name="T21" fmla="*/ 14 h 4320"/>
                    <a:gd name="T22" fmla="*/ 101 w 13482"/>
                    <a:gd name="T23" fmla="*/ 10 h 4320"/>
                    <a:gd name="T24" fmla="*/ 100 w 13482"/>
                    <a:gd name="T25" fmla="*/ 0 h 4320"/>
                    <a:gd name="T26" fmla="*/ 99 w 13482"/>
                    <a:gd name="T27" fmla="*/ 0 h 4320"/>
                    <a:gd name="T28" fmla="*/ 99 w 13482"/>
                    <a:gd name="T29" fmla="*/ 3 h 4320"/>
                    <a:gd name="T30" fmla="*/ 99 w 13482"/>
                    <a:gd name="T31" fmla="*/ 6 h 4320"/>
                    <a:gd name="T32" fmla="*/ 99 w 13482"/>
                    <a:gd name="T33" fmla="*/ 9 h 4320"/>
                    <a:gd name="T34" fmla="*/ 99 w 13482"/>
                    <a:gd name="T35" fmla="*/ 9 h 4320"/>
                    <a:gd name="T36" fmla="*/ 99 w 13482"/>
                    <a:gd name="T37" fmla="*/ 10 h 4320"/>
                    <a:gd name="T38" fmla="*/ 98 w 13482"/>
                    <a:gd name="T39" fmla="*/ 10 h 4320"/>
                    <a:gd name="T40" fmla="*/ 97 w 13482"/>
                    <a:gd name="T41" fmla="*/ 10 h 4320"/>
                    <a:gd name="T42" fmla="*/ 97 w 13482"/>
                    <a:gd name="T43" fmla="*/ 13 h 4320"/>
                    <a:gd name="T44" fmla="*/ 94 w 13482"/>
                    <a:gd name="T45" fmla="*/ 17 h 4320"/>
                    <a:gd name="T46" fmla="*/ 95 w 13482"/>
                    <a:gd name="T47" fmla="*/ 22 h 4320"/>
                    <a:gd name="T48" fmla="*/ 89 w 13482"/>
                    <a:gd name="T49" fmla="*/ 17 h 4320"/>
                    <a:gd name="T50" fmla="*/ 17 w 13482"/>
                    <a:gd name="T51" fmla="*/ 10 h 4320"/>
                    <a:gd name="T52" fmla="*/ 13 w 13482"/>
                    <a:gd name="T53" fmla="*/ 16 h 4320"/>
                    <a:gd name="T54" fmla="*/ 10 w 13482"/>
                    <a:gd name="T55" fmla="*/ 13 h 4320"/>
                    <a:gd name="T56" fmla="*/ 9 w 13482"/>
                    <a:gd name="T57" fmla="*/ 16 h 4320"/>
                    <a:gd name="T58" fmla="*/ 7 w 13482"/>
                    <a:gd name="T59" fmla="*/ 16 h 4320"/>
                    <a:gd name="T60" fmla="*/ 4 w 13482"/>
                    <a:gd name="T61" fmla="*/ 17 h 4320"/>
                    <a:gd name="T62" fmla="*/ 1 w 13482"/>
                    <a:gd name="T63" fmla="*/ 17 h 432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482"/>
                    <a:gd name="T97" fmla="*/ 0 h 4320"/>
                    <a:gd name="T98" fmla="*/ 13482 w 13482"/>
                    <a:gd name="T99" fmla="*/ 4320 h 432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482" h="4320">
                      <a:moveTo>
                        <a:pt x="0" y="2194"/>
                      </a:moveTo>
                      <a:lnTo>
                        <a:pt x="38" y="2282"/>
                      </a:lnTo>
                      <a:lnTo>
                        <a:pt x="156" y="2519"/>
                      </a:lnTo>
                      <a:lnTo>
                        <a:pt x="343" y="2857"/>
                      </a:lnTo>
                      <a:lnTo>
                        <a:pt x="586" y="3247"/>
                      </a:lnTo>
                      <a:lnTo>
                        <a:pt x="873" y="3635"/>
                      </a:lnTo>
                      <a:lnTo>
                        <a:pt x="1203" y="3973"/>
                      </a:lnTo>
                      <a:lnTo>
                        <a:pt x="1554" y="4215"/>
                      </a:lnTo>
                      <a:lnTo>
                        <a:pt x="1929" y="4320"/>
                      </a:lnTo>
                      <a:lnTo>
                        <a:pt x="2706" y="4316"/>
                      </a:lnTo>
                      <a:lnTo>
                        <a:pt x="4141" y="4311"/>
                      </a:lnTo>
                      <a:lnTo>
                        <a:pt x="5996" y="4298"/>
                      </a:lnTo>
                      <a:lnTo>
                        <a:pt x="8044" y="4288"/>
                      </a:lnTo>
                      <a:lnTo>
                        <a:pt x="10036" y="4274"/>
                      </a:lnTo>
                      <a:lnTo>
                        <a:pt x="11755" y="4261"/>
                      </a:lnTo>
                      <a:lnTo>
                        <a:pt x="12956" y="4252"/>
                      </a:lnTo>
                      <a:lnTo>
                        <a:pt x="13414" y="4252"/>
                      </a:lnTo>
                      <a:lnTo>
                        <a:pt x="13482" y="3177"/>
                      </a:lnTo>
                      <a:lnTo>
                        <a:pt x="13332" y="3072"/>
                      </a:lnTo>
                      <a:lnTo>
                        <a:pt x="13354" y="2323"/>
                      </a:lnTo>
                      <a:lnTo>
                        <a:pt x="13203" y="2172"/>
                      </a:lnTo>
                      <a:lnTo>
                        <a:pt x="13181" y="1756"/>
                      </a:lnTo>
                      <a:lnTo>
                        <a:pt x="12673" y="1664"/>
                      </a:lnTo>
                      <a:lnTo>
                        <a:pt x="12651" y="1248"/>
                      </a:lnTo>
                      <a:lnTo>
                        <a:pt x="12486" y="1203"/>
                      </a:lnTo>
                      <a:lnTo>
                        <a:pt x="12440" y="0"/>
                      </a:lnTo>
                      <a:lnTo>
                        <a:pt x="12418" y="10"/>
                      </a:lnTo>
                      <a:lnTo>
                        <a:pt x="12418" y="51"/>
                      </a:lnTo>
                      <a:lnTo>
                        <a:pt x="12418" y="179"/>
                      </a:lnTo>
                      <a:lnTo>
                        <a:pt x="12418" y="352"/>
                      </a:lnTo>
                      <a:lnTo>
                        <a:pt x="12422" y="558"/>
                      </a:lnTo>
                      <a:lnTo>
                        <a:pt x="12422" y="764"/>
                      </a:lnTo>
                      <a:lnTo>
                        <a:pt x="12426" y="952"/>
                      </a:lnTo>
                      <a:lnTo>
                        <a:pt x="12426" y="1093"/>
                      </a:lnTo>
                      <a:lnTo>
                        <a:pt x="12431" y="1166"/>
                      </a:lnTo>
                      <a:lnTo>
                        <a:pt x="12412" y="1180"/>
                      </a:lnTo>
                      <a:lnTo>
                        <a:pt x="12376" y="1198"/>
                      </a:lnTo>
                      <a:lnTo>
                        <a:pt x="12326" y="1208"/>
                      </a:lnTo>
                      <a:lnTo>
                        <a:pt x="12267" y="1216"/>
                      </a:lnTo>
                      <a:lnTo>
                        <a:pt x="12203" y="1216"/>
                      </a:lnTo>
                      <a:lnTo>
                        <a:pt x="12153" y="1221"/>
                      </a:lnTo>
                      <a:lnTo>
                        <a:pt x="12115" y="1221"/>
                      </a:lnTo>
                      <a:lnTo>
                        <a:pt x="12107" y="1226"/>
                      </a:lnTo>
                      <a:lnTo>
                        <a:pt x="12129" y="1628"/>
                      </a:lnTo>
                      <a:lnTo>
                        <a:pt x="11759" y="1688"/>
                      </a:lnTo>
                      <a:lnTo>
                        <a:pt x="11713" y="2158"/>
                      </a:lnTo>
                      <a:lnTo>
                        <a:pt x="11850" y="2323"/>
                      </a:lnTo>
                      <a:lnTo>
                        <a:pt x="11805" y="2716"/>
                      </a:lnTo>
                      <a:lnTo>
                        <a:pt x="11169" y="2642"/>
                      </a:lnTo>
                      <a:lnTo>
                        <a:pt x="11137" y="2090"/>
                      </a:lnTo>
                      <a:lnTo>
                        <a:pt x="4114" y="864"/>
                      </a:lnTo>
                      <a:lnTo>
                        <a:pt x="2071" y="1212"/>
                      </a:lnTo>
                      <a:lnTo>
                        <a:pt x="2034" y="1999"/>
                      </a:lnTo>
                      <a:lnTo>
                        <a:pt x="1609" y="1999"/>
                      </a:lnTo>
                      <a:lnTo>
                        <a:pt x="1482" y="1674"/>
                      </a:lnTo>
                      <a:lnTo>
                        <a:pt x="1293" y="1674"/>
                      </a:lnTo>
                      <a:lnTo>
                        <a:pt x="1125" y="2030"/>
                      </a:lnTo>
                      <a:lnTo>
                        <a:pt x="1088" y="2030"/>
                      </a:lnTo>
                      <a:lnTo>
                        <a:pt x="992" y="2035"/>
                      </a:lnTo>
                      <a:lnTo>
                        <a:pt x="851" y="2044"/>
                      </a:lnTo>
                      <a:lnTo>
                        <a:pt x="681" y="2062"/>
                      </a:lnTo>
                      <a:lnTo>
                        <a:pt x="494" y="2080"/>
                      </a:lnTo>
                      <a:lnTo>
                        <a:pt x="311" y="2112"/>
                      </a:lnTo>
                      <a:lnTo>
                        <a:pt x="138" y="2149"/>
                      </a:lnTo>
                      <a:lnTo>
                        <a:pt x="0" y="2194"/>
                      </a:lnTo>
                      <a:close/>
                    </a:path>
                  </a:pathLst>
                </a:custGeom>
                <a:solidFill>
                  <a:srgbClr val="DDDDDD"/>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24" name="Freeform 745"/>
                <p:cNvSpPr>
                  <a:spLocks/>
                </p:cNvSpPr>
                <p:nvPr/>
              </p:nvSpPr>
              <p:spPr bwMode="auto">
                <a:xfrm>
                  <a:off x="1087" y="2369"/>
                  <a:ext cx="2636" cy="421"/>
                </a:xfrm>
                <a:custGeom>
                  <a:avLst/>
                  <a:gdLst>
                    <a:gd name="T0" fmla="*/ 0 w 13180"/>
                    <a:gd name="T1" fmla="*/ 1 h 2102"/>
                    <a:gd name="T2" fmla="*/ 0 w 13180"/>
                    <a:gd name="T3" fmla="*/ 1 h 2102"/>
                    <a:gd name="T4" fmla="*/ 1 w 13180"/>
                    <a:gd name="T5" fmla="*/ 1 h 2102"/>
                    <a:gd name="T6" fmla="*/ 3 w 13180"/>
                    <a:gd name="T7" fmla="*/ 1 h 2102"/>
                    <a:gd name="T8" fmla="*/ 5 w 13180"/>
                    <a:gd name="T9" fmla="*/ 0 h 2102"/>
                    <a:gd name="T10" fmla="*/ 7 w 13180"/>
                    <a:gd name="T11" fmla="*/ 0 h 2102"/>
                    <a:gd name="T12" fmla="*/ 11 w 13180"/>
                    <a:gd name="T13" fmla="*/ 0 h 2102"/>
                    <a:gd name="T14" fmla="*/ 15 w 13180"/>
                    <a:gd name="T15" fmla="*/ 0 h 2102"/>
                    <a:gd name="T16" fmla="*/ 20 w 13180"/>
                    <a:gd name="T17" fmla="*/ 0 h 2102"/>
                    <a:gd name="T18" fmla="*/ 28 w 13180"/>
                    <a:gd name="T19" fmla="*/ 1 h 2102"/>
                    <a:gd name="T20" fmla="*/ 39 w 13180"/>
                    <a:gd name="T21" fmla="*/ 2 h 2102"/>
                    <a:gd name="T22" fmla="*/ 53 w 13180"/>
                    <a:gd name="T23" fmla="*/ 4 h 2102"/>
                    <a:gd name="T24" fmla="*/ 68 w 13180"/>
                    <a:gd name="T25" fmla="*/ 5 h 2102"/>
                    <a:gd name="T26" fmla="*/ 82 w 13180"/>
                    <a:gd name="T27" fmla="*/ 7 h 2102"/>
                    <a:gd name="T28" fmla="*/ 94 w 13180"/>
                    <a:gd name="T29" fmla="*/ 8 h 2102"/>
                    <a:gd name="T30" fmla="*/ 102 w 13180"/>
                    <a:gd name="T31" fmla="*/ 9 h 2102"/>
                    <a:gd name="T32" fmla="*/ 105 w 13180"/>
                    <a:gd name="T33" fmla="*/ 9 h 2102"/>
                    <a:gd name="T34" fmla="*/ 105 w 13180"/>
                    <a:gd name="T35" fmla="*/ 17 h 2102"/>
                    <a:gd name="T36" fmla="*/ 102 w 13180"/>
                    <a:gd name="T37" fmla="*/ 17 h 2102"/>
                    <a:gd name="T38" fmla="*/ 92 w 13180"/>
                    <a:gd name="T39" fmla="*/ 17 h 2102"/>
                    <a:gd name="T40" fmla="*/ 79 w 13180"/>
                    <a:gd name="T41" fmla="*/ 17 h 2102"/>
                    <a:gd name="T42" fmla="*/ 64 w 13180"/>
                    <a:gd name="T43" fmla="*/ 17 h 2102"/>
                    <a:gd name="T44" fmla="*/ 48 w 13180"/>
                    <a:gd name="T45" fmla="*/ 17 h 2102"/>
                    <a:gd name="T46" fmla="*/ 34 w 13180"/>
                    <a:gd name="T47" fmla="*/ 17 h 2102"/>
                    <a:gd name="T48" fmla="*/ 23 w 13180"/>
                    <a:gd name="T49" fmla="*/ 17 h 2102"/>
                    <a:gd name="T50" fmla="*/ 17 w 13180"/>
                    <a:gd name="T51" fmla="*/ 17 h 2102"/>
                    <a:gd name="T52" fmla="*/ 15 w 13180"/>
                    <a:gd name="T53" fmla="*/ 17 h 2102"/>
                    <a:gd name="T54" fmla="*/ 13 w 13180"/>
                    <a:gd name="T55" fmla="*/ 16 h 2102"/>
                    <a:gd name="T56" fmla="*/ 12 w 13180"/>
                    <a:gd name="T57" fmla="*/ 16 h 2102"/>
                    <a:gd name="T58" fmla="*/ 11 w 13180"/>
                    <a:gd name="T59" fmla="*/ 16 h 2102"/>
                    <a:gd name="T60" fmla="*/ 10 w 13180"/>
                    <a:gd name="T61" fmla="*/ 15 h 2102"/>
                    <a:gd name="T62" fmla="*/ 9 w 13180"/>
                    <a:gd name="T63" fmla="*/ 15 h 2102"/>
                    <a:gd name="T64" fmla="*/ 8 w 13180"/>
                    <a:gd name="T65" fmla="*/ 14 h 2102"/>
                    <a:gd name="T66" fmla="*/ 7 w 13180"/>
                    <a:gd name="T67" fmla="*/ 13 h 2102"/>
                    <a:gd name="T68" fmla="*/ 6 w 13180"/>
                    <a:gd name="T69" fmla="*/ 12 h 2102"/>
                    <a:gd name="T70" fmla="*/ 5 w 13180"/>
                    <a:gd name="T71" fmla="*/ 10 h 2102"/>
                    <a:gd name="T72" fmla="*/ 4 w 13180"/>
                    <a:gd name="T73" fmla="*/ 8 h 2102"/>
                    <a:gd name="T74" fmla="*/ 3 w 13180"/>
                    <a:gd name="T75" fmla="*/ 6 h 2102"/>
                    <a:gd name="T76" fmla="*/ 2 w 13180"/>
                    <a:gd name="T77" fmla="*/ 4 h 2102"/>
                    <a:gd name="T78" fmla="*/ 1 w 13180"/>
                    <a:gd name="T79" fmla="*/ 3 h 2102"/>
                    <a:gd name="T80" fmla="*/ 0 w 13180"/>
                    <a:gd name="T81" fmla="*/ 2 h 2102"/>
                    <a:gd name="T82" fmla="*/ 0 w 13180"/>
                    <a:gd name="T83" fmla="*/ 1 h 2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180"/>
                    <a:gd name="T127" fmla="*/ 0 h 2102"/>
                    <a:gd name="T128" fmla="*/ 13180 w 13180"/>
                    <a:gd name="T129" fmla="*/ 2102 h 2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180" h="2102">
                      <a:moveTo>
                        <a:pt x="0" y="187"/>
                      </a:moveTo>
                      <a:lnTo>
                        <a:pt x="32" y="169"/>
                      </a:lnTo>
                      <a:lnTo>
                        <a:pt x="137" y="141"/>
                      </a:lnTo>
                      <a:lnTo>
                        <a:pt x="315" y="95"/>
                      </a:lnTo>
                      <a:lnTo>
                        <a:pt x="580" y="55"/>
                      </a:lnTo>
                      <a:lnTo>
                        <a:pt x="923" y="18"/>
                      </a:lnTo>
                      <a:lnTo>
                        <a:pt x="1357" y="0"/>
                      </a:lnTo>
                      <a:lnTo>
                        <a:pt x="1883" y="5"/>
                      </a:lnTo>
                      <a:lnTo>
                        <a:pt x="2509" y="50"/>
                      </a:lnTo>
                      <a:lnTo>
                        <a:pt x="3478" y="141"/>
                      </a:lnTo>
                      <a:lnTo>
                        <a:pt x="4926" y="288"/>
                      </a:lnTo>
                      <a:lnTo>
                        <a:pt x="6668" y="461"/>
                      </a:lnTo>
                      <a:lnTo>
                        <a:pt x="8514" y="654"/>
                      </a:lnTo>
                      <a:lnTo>
                        <a:pt x="10269" y="832"/>
                      </a:lnTo>
                      <a:lnTo>
                        <a:pt x="11763" y="987"/>
                      </a:lnTo>
                      <a:lnTo>
                        <a:pt x="12791" y="1092"/>
                      </a:lnTo>
                      <a:lnTo>
                        <a:pt x="13180" y="1134"/>
                      </a:lnTo>
                      <a:lnTo>
                        <a:pt x="13143" y="2070"/>
                      </a:lnTo>
                      <a:lnTo>
                        <a:pt x="12705" y="2070"/>
                      </a:lnTo>
                      <a:lnTo>
                        <a:pt x="11544" y="2075"/>
                      </a:lnTo>
                      <a:lnTo>
                        <a:pt x="9885" y="2084"/>
                      </a:lnTo>
                      <a:lnTo>
                        <a:pt x="7970" y="2094"/>
                      </a:lnTo>
                      <a:lnTo>
                        <a:pt x="6010" y="2098"/>
                      </a:lnTo>
                      <a:lnTo>
                        <a:pt x="4241" y="2102"/>
                      </a:lnTo>
                      <a:lnTo>
                        <a:pt x="2884" y="2098"/>
                      </a:lnTo>
                      <a:lnTo>
                        <a:pt x="2185" y="2094"/>
                      </a:lnTo>
                      <a:lnTo>
                        <a:pt x="1901" y="2075"/>
                      </a:lnTo>
                      <a:lnTo>
                        <a:pt x="1677" y="2052"/>
                      </a:lnTo>
                      <a:lnTo>
                        <a:pt x="1490" y="2011"/>
                      </a:lnTo>
                      <a:lnTo>
                        <a:pt x="1349" y="1965"/>
                      </a:lnTo>
                      <a:lnTo>
                        <a:pt x="1225" y="1901"/>
                      </a:lnTo>
                      <a:lnTo>
                        <a:pt x="1120" y="1823"/>
                      </a:lnTo>
                      <a:lnTo>
                        <a:pt x="1014" y="1728"/>
                      </a:lnTo>
                      <a:lnTo>
                        <a:pt x="914" y="1618"/>
                      </a:lnTo>
                      <a:lnTo>
                        <a:pt x="781" y="1453"/>
                      </a:lnTo>
                      <a:lnTo>
                        <a:pt x="640" y="1252"/>
                      </a:lnTo>
                      <a:lnTo>
                        <a:pt x="489" y="1015"/>
                      </a:lnTo>
                      <a:lnTo>
                        <a:pt x="343" y="776"/>
                      </a:lnTo>
                      <a:lnTo>
                        <a:pt x="206" y="549"/>
                      </a:lnTo>
                      <a:lnTo>
                        <a:pt x="96" y="361"/>
                      </a:lnTo>
                      <a:lnTo>
                        <a:pt x="23" y="233"/>
                      </a:lnTo>
                      <a:lnTo>
                        <a:pt x="0" y="187"/>
                      </a:lnTo>
                      <a:close/>
                    </a:path>
                  </a:pathLst>
                </a:custGeom>
                <a:solidFill>
                  <a:schemeClr val="accent1"/>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25" name="Freeform 746"/>
                <p:cNvSpPr>
                  <a:spLocks/>
                </p:cNvSpPr>
                <p:nvPr/>
              </p:nvSpPr>
              <p:spPr bwMode="auto">
                <a:xfrm>
                  <a:off x="1882" y="2155"/>
                  <a:ext cx="1384" cy="372"/>
                </a:xfrm>
                <a:custGeom>
                  <a:avLst/>
                  <a:gdLst>
                    <a:gd name="T0" fmla="*/ 0 w 6919"/>
                    <a:gd name="T1" fmla="*/ 0 h 1860"/>
                    <a:gd name="T2" fmla="*/ 55 w 6919"/>
                    <a:gd name="T3" fmla="*/ 9 h 1860"/>
                    <a:gd name="T4" fmla="*/ 55 w 6919"/>
                    <a:gd name="T5" fmla="*/ 15 h 1860"/>
                    <a:gd name="T6" fmla="*/ 0 w 6919"/>
                    <a:gd name="T7" fmla="*/ 9 h 1860"/>
                    <a:gd name="T8" fmla="*/ 0 w 6919"/>
                    <a:gd name="T9" fmla="*/ 0 h 1860"/>
                    <a:gd name="T10" fmla="*/ 0 60000 65536"/>
                    <a:gd name="T11" fmla="*/ 0 60000 65536"/>
                    <a:gd name="T12" fmla="*/ 0 60000 65536"/>
                    <a:gd name="T13" fmla="*/ 0 60000 65536"/>
                    <a:gd name="T14" fmla="*/ 0 60000 65536"/>
                    <a:gd name="T15" fmla="*/ 0 w 6919"/>
                    <a:gd name="T16" fmla="*/ 0 h 1860"/>
                    <a:gd name="T17" fmla="*/ 6919 w 6919"/>
                    <a:gd name="T18" fmla="*/ 1860 h 1860"/>
                  </a:gdLst>
                  <a:ahLst/>
                  <a:cxnLst>
                    <a:cxn ang="T10">
                      <a:pos x="T0" y="T1"/>
                    </a:cxn>
                    <a:cxn ang="T11">
                      <a:pos x="T2" y="T3"/>
                    </a:cxn>
                    <a:cxn ang="T12">
                      <a:pos x="T4" y="T5"/>
                    </a:cxn>
                    <a:cxn ang="T13">
                      <a:pos x="T6" y="T7"/>
                    </a:cxn>
                    <a:cxn ang="T14">
                      <a:pos x="T8" y="T9"/>
                    </a:cxn>
                  </a:cxnLst>
                  <a:rect l="T15" t="T16" r="T17" b="T18"/>
                  <a:pathLst>
                    <a:path w="6919" h="1860">
                      <a:moveTo>
                        <a:pt x="0" y="0"/>
                      </a:moveTo>
                      <a:lnTo>
                        <a:pt x="6873" y="1165"/>
                      </a:lnTo>
                      <a:lnTo>
                        <a:pt x="6919" y="1860"/>
                      </a:lnTo>
                      <a:lnTo>
                        <a:pt x="0" y="1120"/>
                      </a:lnTo>
                      <a:lnTo>
                        <a:pt x="0" y="0"/>
                      </a:lnTo>
                      <a:close/>
                    </a:path>
                  </a:pathLst>
                </a:custGeom>
                <a:solidFill>
                  <a:srgbClr val="DDDDDD"/>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26" name="Freeform 747"/>
                <p:cNvSpPr>
                  <a:spLocks/>
                </p:cNvSpPr>
                <p:nvPr/>
              </p:nvSpPr>
              <p:spPr bwMode="auto">
                <a:xfrm>
                  <a:off x="1478" y="2148"/>
                  <a:ext cx="383" cy="231"/>
                </a:xfrm>
                <a:custGeom>
                  <a:avLst/>
                  <a:gdLst>
                    <a:gd name="T0" fmla="*/ 0 w 1915"/>
                    <a:gd name="T1" fmla="*/ 2 h 1156"/>
                    <a:gd name="T2" fmla="*/ 0 w 1915"/>
                    <a:gd name="T3" fmla="*/ 8 h 1156"/>
                    <a:gd name="T4" fmla="*/ 15 w 1915"/>
                    <a:gd name="T5" fmla="*/ 9 h 1156"/>
                    <a:gd name="T6" fmla="*/ 15 w 1915"/>
                    <a:gd name="T7" fmla="*/ 0 h 1156"/>
                    <a:gd name="T8" fmla="*/ 0 w 1915"/>
                    <a:gd name="T9" fmla="*/ 2 h 1156"/>
                    <a:gd name="T10" fmla="*/ 0 60000 65536"/>
                    <a:gd name="T11" fmla="*/ 0 60000 65536"/>
                    <a:gd name="T12" fmla="*/ 0 60000 65536"/>
                    <a:gd name="T13" fmla="*/ 0 60000 65536"/>
                    <a:gd name="T14" fmla="*/ 0 60000 65536"/>
                    <a:gd name="T15" fmla="*/ 0 w 1915"/>
                    <a:gd name="T16" fmla="*/ 0 h 1156"/>
                    <a:gd name="T17" fmla="*/ 1915 w 1915"/>
                    <a:gd name="T18" fmla="*/ 1156 h 1156"/>
                  </a:gdLst>
                  <a:ahLst/>
                  <a:cxnLst>
                    <a:cxn ang="T10">
                      <a:pos x="T0" y="T1"/>
                    </a:cxn>
                    <a:cxn ang="T11">
                      <a:pos x="T2" y="T3"/>
                    </a:cxn>
                    <a:cxn ang="T12">
                      <a:pos x="T4" y="T5"/>
                    </a:cxn>
                    <a:cxn ang="T13">
                      <a:pos x="T6" y="T7"/>
                    </a:cxn>
                    <a:cxn ang="T14">
                      <a:pos x="T8" y="T9"/>
                    </a:cxn>
                  </a:cxnLst>
                  <a:rect l="T15" t="T16" r="T17" b="T18"/>
                  <a:pathLst>
                    <a:path w="1915" h="1156">
                      <a:moveTo>
                        <a:pt x="23" y="311"/>
                      </a:moveTo>
                      <a:lnTo>
                        <a:pt x="0" y="960"/>
                      </a:lnTo>
                      <a:lnTo>
                        <a:pt x="1915" y="1156"/>
                      </a:lnTo>
                      <a:lnTo>
                        <a:pt x="1855" y="0"/>
                      </a:lnTo>
                      <a:lnTo>
                        <a:pt x="23" y="311"/>
                      </a:lnTo>
                      <a:close/>
                    </a:path>
                  </a:pathLst>
                </a:custGeom>
                <a:solidFill>
                  <a:srgbClr val="DDDDDD"/>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27" name="Freeform 748"/>
                <p:cNvSpPr>
                  <a:spLocks/>
                </p:cNvSpPr>
                <p:nvPr/>
              </p:nvSpPr>
              <p:spPr bwMode="auto">
                <a:xfrm>
                  <a:off x="1321" y="2392"/>
                  <a:ext cx="602" cy="298"/>
                </a:xfrm>
                <a:custGeom>
                  <a:avLst/>
                  <a:gdLst>
                    <a:gd name="T0" fmla="*/ 0 w 3012"/>
                    <a:gd name="T1" fmla="*/ 0 h 1490"/>
                    <a:gd name="T2" fmla="*/ 0 w 3012"/>
                    <a:gd name="T3" fmla="*/ 0 h 1490"/>
                    <a:gd name="T4" fmla="*/ 1 w 3012"/>
                    <a:gd name="T5" fmla="*/ 0 h 1490"/>
                    <a:gd name="T6" fmla="*/ 2 w 3012"/>
                    <a:gd name="T7" fmla="*/ 0 h 1490"/>
                    <a:gd name="T8" fmla="*/ 3 w 3012"/>
                    <a:gd name="T9" fmla="*/ 0 h 1490"/>
                    <a:gd name="T10" fmla="*/ 4 w 3012"/>
                    <a:gd name="T11" fmla="*/ 0 h 1490"/>
                    <a:gd name="T12" fmla="*/ 6 w 3012"/>
                    <a:gd name="T13" fmla="*/ 0 h 1490"/>
                    <a:gd name="T14" fmla="*/ 8 w 3012"/>
                    <a:gd name="T15" fmla="*/ 0 h 1490"/>
                    <a:gd name="T16" fmla="*/ 10 w 3012"/>
                    <a:gd name="T17" fmla="*/ 0 h 1490"/>
                    <a:gd name="T18" fmla="*/ 13 w 3012"/>
                    <a:gd name="T19" fmla="*/ 1 h 1490"/>
                    <a:gd name="T20" fmla="*/ 15 w 3012"/>
                    <a:gd name="T21" fmla="*/ 1 h 1490"/>
                    <a:gd name="T22" fmla="*/ 17 w 3012"/>
                    <a:gd name="T23" fmla="*/ 1 h 1490"/>
                    <a:gd name="T24" fmla="*/ 20 w 3012"/>
                    <a:gd name="T25" fmla="*/ 1 h 1490"/>
                    <a:gd name="T26" fmla="*/ 21 w 3012"/>
                    <a:gd name="T27" fmla="*/ 1 h 1490"/>
                    <a:gd name="T28" fmla="*/ 23 w 3012"/>
                    <a:gd name="T29" fmla="*/ 2 h 1490"/>
                    <a:gd name="T30" fmla="*/ 24 w 3012"/>
                    <a:gd name="T31" fmla="*/ 2 h 1490"/>
                    <a:gd name="T32" fmla="*/ 24 w 3012"/>
                    <a:gd name="T33" fmla="*/ 2 h 1490"/>
                    <a:gd name="T34" fmla="*/ 16 w 3012"/>
                    <a:gd name="T35" fmla="*/ 2 h 1490"/>
                    <a:gd name="T36" fmla="*/ 24 w 3012"/>
                    <a:gd name="T37" fmla="*/ 3 h 1490"/>
                    <a:gd name="T38" fmla="*/ 16 w 3012"/>
                    <a:gd name="T39" fmla="*/ 3 h 1490"/>
                    <a:gd name="T40" fmla="*/ 23 w 3012"/>
                    <a:gd name="T41" fmla="*/ 5 h 1490"/>
                    <a:gd name="T42" fmla="*/ 16 w 3012"/>
                    <a:gd name="T43" fmla="*/ 5 h 1490"/>
                    <a:gd name="T44" fmla="*/ 23 w 3012"/>
                    <a:gd name="T45" fmla="*/ 6 h 1490"/>
                    <a:gd name="T46" fmla="*/ 16 w 3012"/>
                    <a:gd name="T47" fmla="*/ 7 h 1490"/>
                    <a:gd name="T48" fmla="*/ 23 w 3012"/>
                    <a:gd name="T49" fmla="*/ 7 h 1490"/>
                    <a:gd name="T50" fmla="*/ 16 w 3012"/>
                    <a:gd name="T51" fmla="*/ 8 h 1490"/>
                    <a:gd name="T52" fmla="*/ 23 w 3012"/>
                    <a:gd name="T53" fmla="*/ 9 h 1490"/>
                    <a:gd name="T54" fmla="*/ 16 w 3012"/>
                    <a:gd name="T55" fmla="*/ 9 h 1490"/>
                    <a:gd name="T56" fmla="*/ 23 w 3012"/>
                    <a:gd name="T57" fmla="*/ 10 h 1490"/>
                    <a:gd name="T58" fmla="*/ 16 w 3012"/>
                    <a:gd name="T59" fmla="*/ 11 h 1490"/>
                    <a:gd name="T60" fmla="*/ 23 w 3012"/>
                    <a:gd name="T61" fmla="*/ 12 h 1490"/>
                    <a:gd name="T62" fmla="*/ 22 w 3012"/>
                    <a:gd name="T63" fmla="*/ 12 h 1490"/>
                    <a:gd name="T64" fmla="*/ 21 w 3012"/>
                    <a:gd name="T65" fmla="*/ 12 h 1490"/>
                    <a:gd name="T66" fmla="*/ 20 w 3012"/>
                    <a:gd name="T67" fmla="*/ 12 h 1490"/>
                    <a:gd name="T68" fmla="*/ 18 w 3012"/>
                    <a:gd name="T69" fmla="*/ 12 h 1490"/>
                    <a:gd name="T70" fmla="*/ 16 w 3012"/>
                    <a:gd name="T71" fmla="*/ 12 h 1490"/>
                    <a:gd name="T72" fmla="*/ 14 w 3012"/>
                    <a:gd name="T73" fmla="*/ 12 h 1490"/>
                    <a:gd name="T74" fmla="*/ 12 w 3012"/>
                    <a:gd name="T75" fmla="*/ 12 h 1490"/>
                    <a:gd name="T76" fmla="*/ 9 w 3012"/>
                    <a:gd name="T77" fmla="*/ 12 h 1490"/>
                    <a:gd name="T78" fmla="*/ 7 w 3012"/>
                    <a:gd name="T79" fmla="*/ 11 h 1490"/>
                    <a:gd name="T80" fmla="*/ 5 w 3012"/>
                    <a:gd name="T81" fmla="*/ 11 h 1490"/>
                    <a:gd name="T82" fmla="*/ 4 w 3012"/>
                    <a:gd name="T83" fmla="*/ 11 h 1490"/>
                    <a:gd name="T84" fmla="*/ 3 w 3012"/>
                    <a:gd name="T85" fmla="*/ 11 h 1490"/>
                    <a:gd name="T86" fmla="*/ 2 w 3012"/>
                    <a:gd name="T87" fmla="*/ 11 h 1490"/>
                    <a:gd name="T88" fmla="*/ 2 w 3012"/>
                    <a:gd name="T89" fmla="*/ 11 h 1490"/>
                    <a:gd name="T90" fmla="*/ 2 w 3012"/>
                    <a:gd name="T91" fmla="*/ 11 h 1490"/>
                    <a:gd name="T92" fmla="*/ 2 w 3012"/>
                    <a:gd name="T93" fmla="*/ 11 h 1490"/>
                    <a:gd name="T94" fmla="*/ 9 w 3012"/>
                    <a:gd name="T95" fmla="*/ 10 h 1490"/>
                    <a:gd name="T96" fmla="*/ 1 w 3012"/>
                    <a:gd name="T97" fmla="*/ 9 h 1490"/>
                    <a:gd name="T98" fmla="*/ 8 w 3012"/>
                    <a:gd name="T99" fmla="*/ 9 h 1490"/>
                    <a:gd name="T100" fmla="*/ 1 w 3012"/>
                    <a:gd name="T101" fmla="*/ 7 h 1490"/>
                    <a:gd name="T102" fmla="*/ 8 w 3012"/>
                    <a:gd name="T103" fmla="*/ 7 h 1490"/>
                    <a:gd name="T104" fmla="*/ 1 w 3012"/>
                    <a:gd name="T105" fmla="*/ 5 h 1490"/>
                    <a:gd name="T106" fmla="*/ 7 w 3012"/>
                    <a:gd name="T107" fmla="*/ 5 h 1490"/>
                    <a:gd name="T108" fmla="*/ 1 w 3012"/>
                    <a:gd name="T109" fmla="*/ 4 h 1490"/>
                    <a:gd name="T110" fmla="*/ 7 w 3012"/>
                    <a:gd name="T111" fmla="*/ 4 h 1490"/>
                    <a:gd name="T112" fmla="*/ 0 w 3012"/>
                    <a:gd name="T113" fmla="*/ 2 h 1490"/>
                    <a:gd name="T114" fmla="*/ 6 w 3012"/>
                    <a:gd name="T115" fmla="*/ 2 h 1490"/>
                    <a:gd name="T116" fmla="*/ 0 w 3012"/>
                    <a:gd name="T117" fmla="*/ 0 h 14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012"/>
                    <a:gd name="T178" fmla="*/ 0 h 1490"/>
                    <a:gd name="T179" fmla="*/ 3012 w 3012"/>
                    <a:gd name="T180" fmla="*/ 1490 h 14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012" h="1490">
                      <a:moveTo>
                        <a:pt x="0" y="27"/>
                      </a:moveTo>
                      <a:lnTo>
                        <a:pt x="18" y="23"/>
                      </a:lnTo>
                      <a:lnTo>
                        <a:pt x="87" y="13"/>
                      </a:lnTo>
                      <a:lnTo>
                        <a:pt x="192" y="5"/>
                      </a:lnTo>
                      <a:lnTo>
                        <a:pt x="338" y="5"/>
                      </a:lnTo>
                      <a:lnTo>
                        <a:pt x="521" y="0"/>
                      </a:lnTo>
                      <a:lnTo>
                        <a:pt x="740" y="5"/>
                      </a:lnTo>
                      <a:lnTo>
                        <a:pt x="992" y="13"/>
                      </a:lnTo>
                      <a:lnTo>
                        <a:pt x="1280" y="41"/>
                      </a:lnTo>
                      <a:lnTo>
                        <a:pt x="1581" y="69"/>
                      </a:lnTo>
                      <a:lnTo>
                        <a:pt x="1882" y="96"/>
                      </a:lnTo>
                      <a:lnTo>
                        <a:pt x="2175" y="124"/>
                      </a:lnTo>
                      <a:lnTo>
                        <a:pt x="2445" y="151"/>
                      </a:lnTo>
                      <a:lnTo>
                        <a:pt x="2669" y="174"/>
                      </a:lnTo>
                      <a:lnTo>
                        <a:pt x="2852" y="192"/>
                      </a:lnTo>
                      <a:lnTo>
                        <a:pt x="2966" y="202"/>
                      </a:lnTo>
                      <a:lnTo>
                        <a:pt x="3012" y="210"/>
                      </a:lnTo>
                      <a:lnTo>
                        <a:pt x="1983" y="260"/>
                      </a:lnTo>
                      <a:lnTo>
                        <a:pt x="2980" y="407"/>
                      </a:lnTo>
                      <a:lnTo>
                        <a:pt x="1983" y="429"/>
                      </a:lnTo>
                      <a:lnTo>
                        <a:pt x="2898" y="572"/>
                      </a:lnTo>
                      <a:lnTo>
                        <a:pt x="2006" y="626"/>
                      </a:lnTo>
                      <a:lnTo>
                        <a:pt x="2934" y="754"/>
                      </a:lnTo>
                      <a:lnTo>
                        <a:pt x="2006" y="823"/>
                      </a:lnTo>
                      <a:lnTo>
                        <a:pt x="2898" y="919"/>
                      </a:lnTo>
                      <a:lnTo>
                        <a:pt x="1983" y="988"/>
                      </a:lnTo>
                      <a:lnTo>
                        <a:pt x="2860" y="1116"/>
                      </a:lnTo>
                      <a:lnTo>
                        <a:pt x="1983" y="1170"/>
                      </a:lnTo>
                      <a:lnTo>
                        <a:pt x="2829" y="1285"/>
                      </a:lnTo>
                      <a:lnTo>
                        <a:pt x="2020" y="1357"/>
                      </a:lnTo>
                      <a:lnTo>
                        <a:pt x="2815" y="1482"/>
                      </a:lnTo>
                      <a:lnTo>
                        <a:pt x="2774" y="1482"/>
                      </a:lnTo>
                      <a:lnTo>
                        <a:pt x="2669" y="1486"/>
                      </a:lnTo>
                      <a:lnTo>
                        <a:pt x="2500" y="1486"/>
                      </a:lnTo>
                      <a:lnTo>
                        <a:pt x="2290" y="1490"/>
                      </a:lnTo>
                      <a:lnTo>
                        <a:pt x="2038" y="1486"/>
                      </a:lnTo>
                      <a:lnTo>
                        <a:pt x="1759" y="1482"/>
                      </a:lnTo>
                      <a:lnTo>
                        <a:pt x="1462" y="1462"/>
                      </a:lnTo>
                      <a:lnTo>
                        <a:pt x="1165" y="1449"/>
                      </a:lnTo>
                      <a:lnTo>
                        <a:pt x="886" y="1422"/>
                      </a:lnTo>
                      <a:lnTo>
                        <a:pt x="667" y="1408"/>
                      </a:lnTo>
                      <a:lnTo>
                        <a:pt x="503" y="1390"/>
                      </a:lnTo>
                      <a:lnTo>
                        <a:pt x="388" y="1381"/>
                      </a:lnTo>
                      <a:lnTo>
                        <a:pt x="302" y="1367"/>
                      </a:lnTo>
                      <a:lnTo>
                        <a:pt x="256" y="1362"/>
                      </a:lnTo>
                      <a:lnTo>
                        <a:pt x="233" y="1357"/>
                      </a:lnTo>
                      <a:lnTo>
                        <a:pt x="229" y="1357"/>
                      </a:lnTo>
                      <a:lnTo>
                        <a:pt x="1074" y="1285"/>
                      </a:lnTo>
                      <a:lnTo>
                        <a:pt x="147" y="1116"/>
                      </a:lnTo>
                      <a:lnTo>
                        <a:pt x="1037" y="1124"/>
                      </a:lnTo>
                      <a:lnTo>
                        <a:pt x="137" y="919"/>
                      </a:lnTo>
                      <a:lnTo>
                        <a:pt x="969" y="905"/>
                      </a:lnTo>
                      <a:lnTo>
                        <a:pt x="123" y="676"/>
                      </a:lnTo>
                      <a:lnTo>
                        <a:pt x="886" y="662"/>
                      </a:lnTo>
                      <a:lnTo>
                        <a:pt x="91" y="480"/>
                      </a:lnTo>
                      <a:lnTo>
                        <a:pt x="832" y="453"/>
                      </a:lnTo>
                      <a:lnTo>
                        <a:pt x="23" y="224"/>
                      </a:lnTo>
                      <a:lnTo>
                        <a:pt x="727" y="233"/>
                      </a:lnTo>
                      <a:lnTo>
                        <a:pt x="0" y="27"/>
                      </a:lnTo>
                      <a:close/>
                    </a:path>
                  </a:pathLst>
                </a:custGeom>
                <a:solidFill>
                  <a:srgbClr val="EAEAEA"/>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28" name="Freeform 749"/>
                <p:cNvSpPr>
                  <a:spLocks/>
                </p:cNvSpPr>
                <p:nvPr/>
              </p:nvSpPr>
              <p:spPr bwMode="auto">
                <a:xfrm>
                  <a:off x="1923" y="2187"/>
                  <a:ext cx="1314" cy="317"/>
                </a:xfrm>
                <a:custGeom>
                  <a:avLst/>
                  <a:gdLst>
                    <a:gd name="T0" fmla="*/ 0 w 6571"/>
                    <a:gd name="T1" fmla="*/ 0 h 1582"/>
                    <a:gd name="T2" fmla="*/ 53 w 6571"/>
                    <a:gd name="T3" fmla="*/ 9 h 1582"/>
                    <a:gd name="T4" fmla="*/ 2 w 6571"/>
                    <a:gd name="T5" fmla="*/ 2 h 1582"/>
                    <a:gd name="T6" fmla="*/ 52 w 6571"/>
                    <a:gd name="T7" fmla="*/ 10 h 1582"/>
                    <a:gd name="T8" fmla="*/ 2 w 6571"/>
                    <a:gd name="T9" fmla="*/ 4 h 1582"/>
                    <a:gd name="T10" fmla="*/ 53 w 6571"/>
                    <a:gd name="T11" fmla="*/ 11 h 1582"/>
                    <a:gd name="T12" fmla="*/ 2 w 6571"/>
                    <a:gd name="T13" fmla="*/ 6 h 1582"/>
                    <a:gd name="T14" fmla="*/ 53 w 6571"/>
                    <a:gd name="T15" fmla="*/ 13 h 1582"/>
                    <a:gd name="T16" fmla="*/ 0 w 6571"/>
                    <a:gd name="T17" fmla="*/ 7 h 1582"/>
                    <a:gd name="T18" fmla="*/ 0 w 6571"/>
                    <a:gd name="T19" fmla="*/ 0 h 15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71"/>
                    <a:gd name="T31" fmla="*/ 0 h 1582"/>
                    <a:gd name="T32" fmla="*/ 6571 w 6571"/>
                    <a:gd name="T33" fmla="*/ 1582 h 15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71" h="1582">
                      <a:moveTo>
                        <a:pt x="0" y="0"/>
                      </a:moveTo>
                      <a:lnTo>
                        <a:pt x="6571" y="1134"/>
                      </a:lnTo>
                      <a:lnTo>
                        <a:pt x="265" y="206"/>
                      </a:lnTo>
                      <a:lnTo>
                        <a:pt x="6563" y="1257"/>
                      </a:lnTo>
                      <a:lnTo>
                        <a:pt x="288" y="453"/>
                      </a:lnTo>
                      <a:lnTo>
                        <a:pt x="6571" y="1408"/>
                      </a:lnTo>
                      <a:lnTo>
                        <a:pt x="265" y="704"/>
                      </a:lnTo>
                      <a:lnTo>
                        <a:pt x="6571" y="1582"/>
                      </a:lnTo>
                      <a:lnTo>
                        <a:pt x="0" y="841"/>
                      </a:lnTo>
                      <a:lnTo>
                        <a:pt x="0" y="0"/>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29" name="Freeform 750"/>
                <p:cNvSpPr>
                  <a:spLocks/>
                </p:cNvSpPr>
                <p:nvPr/>
              </p:nvSpPr>
              <p:spPr bwMode="auto">
                <a:xfrm>
                  <a:off x="1501" y="2175"/>
                  <a:ext cx="334" cy="180"/>
                </a:xfrm>
                <a:custGeom>
                  <a:avLst/>
                  <a:gdLst>
                    <a:gd name="T0" fmla="*/ 13 w 1673"/>
                    <a:gd name="T1" fmla="*/ 0 h 901"/>
                    <a:gd name="T2" fmla="*/ 0 w 1673"/>
                    <a:gd name="T3" fmla="*/ 2 h 901"/>
                    <a:gd name="T4" fmla="*/ 11 w 1673"/>
                    <a:gd name="T5" fmla="*/ 2 h 901"/>
                    <a:gd name="T6" fmla="*/ 0 w 1673"/>
                    <a:gd name="T7" fmla="*/ 3 h 901"/>
                    <a:gd name="T8" fmla="*/ 10 w 1673"/>
                    <a:gd name="T9" fmla="*/ 3 h 901"/>
                    <a:gd name="T10" fmla="*/ 0 w 1673"/>
                    <a:gd name="T11" fmla="*/ 5 h 901"/>
                    <a:gd name="T12" fmla="*/ 10 w 1673"/>
                    <a:gd name="T13" fmla="*/ 4 h 901"/>
                    <a:gd name="T14" fmla="*/ 3 w 1673"/>
                    <a:gd name="T15" fmla="*/ 6 h 901"/>
                    <a:gd name="T16" fmla="*/ 10 w 1673"/>
                    <a:gd name="T17" fmla="*/ 6 h 901"/>
                    <a:gd name="T18" fmla="*/ 8 w 1673"/>
                    <a:gd name="T19" fmla="*/ 7 h 901"/>
                    <a:gd name="T20" fmla="*/ 13 w 1673"/>
                    <a:gd name="T21" fmla="*/ 7 h 901"/>
                    <a:gd name="T22" fmla="*/ 13 w 1673"/>
                    <a:gd name="T23" fmla="*/ 0 h 9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73"/>
                    <a:gd name="T37" fmla="*/ 0 h 901"/>
                    <a:gd name="T38" fmla="*/ 1673 w 1673"/>
                    <a:gd name="T39" fmla="*/ 901 h 9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73" h="901">
                      <a:moveTo>
                        <a:pt x="1641" y="0"/>
                      </a:moveTo>
                      <a:lnTo>
                        <a:pt x="0" y="293"/>
                      </a:lnTo>
                      <a:lnTo>
                        <a:pt x="1317" y="197"/>
                      </a:lnTo>
                      <a:lnTo>
                        <a:pt x="0" y="430"/>
                      </a:lnTo>
                      <a:lnTo>
                        <a:pt x="1280" y="362"/>
                      </a:lnTo>
                      <a:lnTo>
                        <a:pt x="0" y="627"/>
                      </a:lnTo>
                      <a:lnTo>
                        <a:pt x="1235" y="545"/>
                      </a:lnTo>
                      <a:lnTo>
                        <a:pt x="348" y="778"/>
                      </a:lnTo>
                      <a:lnTo>
                        <a:pt x="1280" y="718"/>
                      </a:lnTo>
                      <a:lnTo>
                        <a:pt x="1028" y="846"/>
                      </a:lnTo>
                      <a:lnTo>
                        <a:pt x="1673" y="901"/>
                      </a:lnTo>
                      <a:lnTo>
                        <a:pt x="1641" y="0"/>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30" name="Freeform 751"/>
                <p:cNvSpPr>
                  <a:spLocks/>
                </p:cNvSpPr>
                <p:nvPr/>
              </p:nvSpPr>
              <p:spPr bwMode="auto">
                <a:xfrm>
                  <a:off x="1274" y="2656"/>
                  <a:ext cx="2423" cy="114"/>
                </a:xfrm>
                <a:custGeom>
                  <a:avLst/>
                  <a:gdLst>
                    <a:gd name="T0" fmla="*/ 0 w 12115"/>
                    <a:gd name="T1" fmla="*/ 0 h 571"/>
                    <a:gd name="T2" fmla="*/ 0 w 12115"/>
                    <a:gd name="T3" fmla="*/ 0 h 571"/>
                    <a:gd name="T4" fmla="*/ 0 w 12115"/>
                    <a:gd name="T5" fmla="*/ 0 h 571"/>
                    <a:gd name="T6" fmla="*/ 1 w 12115"/>
                    <a:gd name="T7" fmla="*/ 1 h 571"/>
                    <a:gd name="T8" fmla="*/ 2 w 12115"/>
                    <a:gd name="T9" fmla="*/ 1 h 571"/>
                    <a:gd name="T10" fmla="*/ 3 w 12115"/>
                    <a:gd name="T11" fmla="*/ 1 h 571"/>
                    <a:gd name="T12" fmla="*/ 4 w 12115"/>
                    <a:gd name="T13" fmla="*/ 2 h 571"/>
                    <a:gd name="T14" fmla="*/ 6 w 12115"/>
                    <a:gd name="T15" fmla="*/ 2 h 571"/>
                    <a:gd name="T16" fmla="*/ 8 w 12115"/>
                    <a:gd name="T17" fmla="*/ 2 h 571"/>
                    <a:gd name="T18" fmla="*/ 14 w 12115"/>
                    <a:gd name="T19" fmla="*/ 2 h 571"/>
                    <a:gd name="T20" fmla="*/ 23 w 12115"/>
                    <a:gd name="T21" fmla="*/ 2 h 571"/>
                    <a:gd name="T22" fmla="*/ 35 w 12115"/>
                    <a:gd name="T23" fmla="*/ 3 h 571"/>
                    <a:gd name="T24" fmla="*/ 49 w 12115"/>
                    <a:gd name="T25" fmla="*/ 3 h 571"/>
                    <a:gd name="T26" fmla="*/ 63 w 12115"/>
                    <a:gd name="T27" fmla="*/ 3 h 571"/>
                    <a:gd name="T28" fmla="*/ 75 w 12115"/>
                    <a:gd name="T29" fmla="*/ 3 h 571"/>
                    <a:gd name="T30" fmla="*/ 84 w 12115"/>
                    <a:gd name="T31" fmla="*/ 3 h 571"/>
                    <a:gd name="T32" fmla="*/ 89 w 12115"/>
                    <a:gd name="T33" fmla="*/ 3 h 571"/>
                    <a:gd name="T34" fmla="*/ 91 w 12115"/>
                    <a:gd name="T35" fmla="*/ 3 h 571"/>
                    <a:gd name="T36" fmla="*/ 93 w 12115"/>
                    <a:gd name="T37" fmla="*/ 2 h 571"/>
                    <a:gd name="T38" fmla="*/ 94 w 12115"/>
                    <a:gd name="T39" fmla="*/ 2 h 571"/>
                    <a:gd name="T40" fmla="*/ 95 w 12115"/>
                    <a:gd name="T41" fmla="*/ 2 h 571"/>
                    <a:gd name="T42" fmla="*/ 96 w 12115"/>
                    <a:gd name="T43" fmla="*/ 2 h 571"/>
                    <a:gd name="T44" fmla="*/ 96 w 12115"/>
                    <a:gd name="T45" fmla="*/ 2 h 571"/>
                    <a:gd name="T46" fmla="*/ 97 w 12115"/>
                    <a:gd name="T47" fmla="*/ 1 h 571"/>
                    <a:gd name="T48" fmla="*/ 97 w 12115"/>
                    <a:gd name="T49" fmla="*/ 1 h 571"/>
                    <a:gd name="T50" fmla="*/ 97 w 12115"/>
                    <a:gd name="T51" fmla="*/ 4 h 571"/>
                    <a:gd name="T52" fmla="*/ 93 w 12115"/>
                    <a:gd name="T53" fmla="*/ 4 h 571"/>
                    <a:gd name="T54" fmla="*/ 83 w 12115"/>
                    <a:gd name="T55" fmla="*/ 4 h 571"/>
                    <a:gd name="T56" fmla="*/ 68 w 12115"/>
                    <a:gd name="T57" fmla="*/ 4 h 571"/>
                    <a:gd name="T58" fmla="*/ 52 w 12115"/>
                    <a:gd name="T59" fmla="*/ 4 h 571"/>
                    <a:gd name="T60" fmla="*/ 35 w 12115"/>
                    <a:gd name="T61" fmla="*/ 5 h 571"/>
                    <a:gd name="T62" fmla="*/ 20 w 12115"/>
                    <a:gd name="T63" fmla="*/ 5 h 571"/>
                    <a:gd name="T64" fmla="*/ 10 w 12115"/>
                    <a:gd name="T65" fmla="*/ 4 h 571"/>
                    <a:gd name="T66" fmla="*/ 5 w 12115"/>
                    <a:gd name="T67" fmla="*/ 4 h 571"/>
                    <a:gd name="T68" fmla="*/ 4 w 12115"/>
                    <a:gd name="T69" fmla="*/ 4 h 571"/>
                    <a:gd name="T70" fmla="*/ 3 w 12115"/>
                    <a:gd name="T71" fmla="*/ 3 h 571"/>
                    <a:gd name="T72" fmla="*/ 2 w 12115"/>
                    <a:gd name="T73" fmla="*/ 2 h 571"/>
                    <a:gd name="T74" fmla="*/ 1 w 12115"/>
                    <a:gd name="T75" fmla="*/ 2 h 571"/>
                    <a:gd name="T76" fmla="*/ 1 w 12115"/>
                    <a:gd name="T77" fmla="*/ 1 h 571"/>
                    <a:gd name="T78" fmla="*/ 0 w 12115"/>
                    <a:gd name="T79" fmla="*/ 0 h 571"/>
                    <a:gd name="T80" fmla="*/ 0 w 12115"/>
                    <a:gd name="T81" fmla="*/ 0 h 571"/>
                    <a:gd name="T82" fmla="*/ 0 w 12115"/>
                    <a:gd name="T83" fmla="*/ 0 h 57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115"/>
                    <a:gd name="T127" fmla="*/ 0 h 571"/>
                    <a:gd name="T128" fmla="*/ 12115 w 12115"/>
                    <a:gd name="T129" fmla="*/ 571 h 57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115" h="571">
                      <a:moveTo>
                        <a:pt x="0" y="0"/>
                      </a:moveTo>
                      <a:lnTo>
                        <a:pt x="4" y="9"/>
                      </a:lnTo>
                      <a:lnTo>
                        <a:pt x="37" y="36"/>
                      </a:lnTo>
                      <a:lnTo>
                        <a:pt x="96" y="73"/>
                      </a:lnTo>
                      <a:lnTo>
                        <a:pt x="197" y="123"/>
                      </a:lnTo>
                      <a:lnTo>
                        <a:pt x="329" y="169"/>
                      </a:lnTo>
                      <a:lnTo>
                        <a:pt x="512" y="211"/>
                      </a:lnTo>
                      <a:lnTo>
                        <a:pt x="749" y="243"/>
                      </a:lnTo>
                      <a:lnTo>
                        <a:pt x="1051" y="265"/>
                      </a:lnTo>
                      <a:lnTo>
                        <a:pt x="1700" y="279"/>
                      </a:lnTo>
                      <a:lnTo>
                        <a:pt x="2888" y="297"/>
                      </a:lnTo>
                      <a:lnTo>
                        <a:pt x="4428" y="316"/>
                      </a:lnTo>
                      <a:lnTo>
                        <a:pt x="6147" y="338"/>
                      </a:lnTo>
                      <a:lnTo>
                        <a:pt x="7852" y="348"/>
                      </a:lnTo>
                      <a:lnTo>
                        <a:pt x="9373" y="362"/>
                      </a:lnTo>
                      <a:lnTo>
                        <a:pt x="10521" y="362"/>
                      </a:lnTo>
                      <a:lnTo>
                        <a:pt x="11123" y="356"/>
                      </a:lnTo>
                      <a:lnTo>
                        <a:pt x="11370" y="334"/>
                      </a:lnTo>
                      <a:lnTo>
                        <a:pt x="11575" y="311"/>
                      </a:lnTo>
                      <a:lnTo>
                        <a:pt x="11745" y="283"/>
                      </a:lnTo>
                      <a:lnTo>
                        <a:pt x="11887" y="256"/>
                      </a:lnTo>
                      <a:lnTo>
                        <a:pt x="11987" y="224"/>
                      </a:lnTo>
                      <a:lnTo>
                        <a:pt x="12061" y="201"/>
                      </a:lnTo>
                      <a:lnTo>
                        <a:pt x="12101" y="183"/>
                      </a:lnTo>
                      <a:lnTo>
                        <a:pt x="12115" y="183"/>
                      </a:lnTo>
                      <a:lnTo>
                        <a:pt x="12092" y="507"/>
                      </a:lnTo>
                      <a:lnTo>
                        <a:pt x="11608" y="512"/>
                      </a:lnTo>
                      <a:lnTo>
                        <a:pt x="10342" y="526"/>
                      </a:lnTo>
                      <a:lnTo>
                        <a:pt x="8537" y="544"/>
                      </a:lnTo>
                      <a:lnTo>
                        <a:pt x="6467" y="563"/>
                      </a:lnTo>
                      <a:lnTo>
                        <a:pt x="4378" y="571"/>
                      </a:lnTo>
                      <a:lnTo>
                        <a:pt x="2537" y="567"/>
                      </a:lnTo>
                      <a:lnTo>
                        <a:pt x="1193" y="549"/>
                      </a:lnTo>
                      <a:lnTo>
                        <a:pt x="613" y="507"/>
                      </a:lnTo>
                      <a:lnTo>
                        <a:pt x="494" y="439"/>
                      </a:lnTo>
                      <a:lnTo>
                        <a:pt x="384" y="362"/>
                      </a:lnTo>
                      <a:lnTo>
                        <a:pt x="279" y="274"/>
                      </a:lnTo>
                      <a:lnTo>
                        <a:pt x="187" y="197"/>
                      </a:lnTo>
                      <a:lnTo>
                        <a:pt x="105" y="119"/>
                      </a:lnTo>
                      <a:lnTo>
                        <a:pt x="50" y="55"/>
                      </a:lnTo>
                      <a:lnTo>
                        <a:pt x="9" y="14"/>
                      </a:lnTo>
                      <a:lnTo>
                        <a:pt x="0" y="0"/>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31" name="Rectangle 752"/>
                <p:cNvSpPr>
                  <a:spLocks noChangeArrowheads="1"/>
                </p:cNvSpPr>
                <p:nvPr/>
              </p:nvSpPr>
              <p:spPr bwMode="auto">
                <a:xfrm>
                  <a:off x="2630" y="2193"/>
                  <a:ext cx="18" cy="226"/>
                </a:xfrm>
                <a:prstGeom prst="rect">
                  <a:avLst/>
                </a:prstGeom>
                <a:solidFill>
                  <a:srgbClr val="808080"/>
                </a:solidFill>
                <a:ln w="9525">
                  <a:solidFill>
                    <a:srgbClr val="808080"/>
                  </a:solid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4632" name="Rectangle 753"/>
                <p:cNvSpPr>
                  <a:spLocks noChangeArrowheads="1"/>
                </p:cNvSpPr>
                <p:nvPr/>
              </p:nvSpPr>
              <p:spPr bwMode="auto">
                <a:xfrm>
                  <a:off x="3242" y="2165"/>
                  <a:ext cx="23" cy="202"/>
                </a:xfrm>
                <a:prstGeom prst="rect">
                  <a:avLst/>
                </a:prstGeom>
                <a:solidFill>
                  <a:srgbClr val="808080"/>
                </a:solidFill>
                <a:ln w="9525">
                  <a:solidFill>
                    <a:srgbClr val="808080"/>
                  </a:solid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4633" name="Freeform 754"/>
                <p:cNvSpPr>
                  <a:spLocks/>
                </p:cNvSpPr>
                <p:nvPr/>
              </p:nvSpPr>
              <p:spPr bwMode="auto">
                <a:xfrm>
                  <a:off x="2524" y="2240"/>
                  <a:ext cx="19" cy="213"/>
                </a:xfrm>
                <a:custGeom>
                  <a:avLst/>
                  <a:gdLst>
                    <a:gd name="T0" fmla="*/ 0 w 97"/>
                    <a:gd name="T1" fmla="*/ 0 h 1064"/>
                    <a:gd name="T2" fmla="*/ 0 w 97"/>
                    <a:gd name="T3" fmla="*/ 0 h 1064"/>
                    <a:gd name="T4" fmla="*/ 0 w 97"/>
                    <a:gd name="T5" fmla="*/ 0 h 1064"/>
                    <a:gd name="T6" fmla="*/ 1 w 97"/>
                    <a:gd name="T7" fmla="*/ 0 h 1064"/>
                    <a:gd name="T8" fmla="*/ 1 w 97"/>
                    <a:gd name="T9" fmla="*/ 0 h 1064"/>
                    <a:gd name="T10" fmla="*/ 1 w 97"/>
                    <a:gd name="T11" fmla="*/ 1 h 1064"/>
                    <a:gd name="T12" fmla="*/ 1 w 97"/>
                    <a:gd name="T13" fmla="*/ 2 h 1064"/>
                    <a:gd name="T14" fmla="*/ 1 w 97"/>
                    <a:gd name="T15" fmla="*/ 3 h 1064"/>
                    <a:gd name="T16" fmla="*/ 1 w 97"/>
                    <a:gd name="T17" fmla="*/ 4 h 1064"/>
                    <a:gd name="T18" fmla="*/ 1 w 97"/>
                    <a:gd name="T19" fmla="*/ 5 h 1064"/>
                    <a:gd name="T20" fmla="*/ 1 w 97"/>
                    <a:gd name="T21" fmla="*/ 6 h 1064"/>
                    <a:gd name="T22" fmla="*/ 1 w 97"/>
                    <a:gd name="T23" fmla="*/ 7 h 1064"/>
                    <a:gd name="T24" fmla="*/ 1 w 97"/>
                    <a:gd name="T25" fmla="*/ 9 h 1064"/>
                    <a:gd name="T26" fmla="*/ 1 w 97"/>
                    <a:gd name="T27" fmla="*/ 9 h 1064"/>
                    <a:gd name="T28" fmla="*/ 0 w 97"/>
                    <a:gd name="T29" fmla="*/ 9 h 1064"/>
                    <a:gd name="T30" fmla="*/ 0 w 97"/>
                    <a:gd name="T31" fmla="*/ 9 h 1064"/>
                    <a:gd name="T32" fmla="*/ 0 w 97"/>
                    <a:gd name="T33" fmla="*/ 9 h 1064"/>
                    <a:gd name="T34" fmla="*/ 0 w 97"/>
                    <a:gd name="T35" fmla="*/ 7 h 1064"/>
                    <a:gd name="T36" fmla="*/ 0 w 97"/>
                    <a:gd name="T37" fmla="*/ 6 h 1064"/>
                    <a:gd name="T38" fmla="*/ 0 w 97"/>
                    <a:gd name="T39" fmla="*/ 5 h 1064"/>
                    <a:gd name="T40" fmla="*/ 0 w 97"/>
                    <a:gd name="T41" fmla="*/ 4 h 1064"/>
                    <a:gd name="T42" fmla="*/ 0 w 97"/>
                    <a:gd name="T43" fmla="*/ 3 h 1064"/>
                    <a:gd name="T44" fmla="*/ 0 w 97"/>
                    <a:gd name="T45" fmla="*/ 2 h 1064"/>
                    <a:gd name="T46" fmla="*/ 0 w 97"/>
                    <a:gd name="T47" fmla="*/ 1 h 1064"/>
                    <a:gd name="T48" fmla="*/ 0 w 97"/>
                    <a:gd name="T49" fmla="*/ 0 h 10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7"/>
                    <a:gd name="T76" fmla="*/ 0 h 1064"/>
                    <a:gd name="T77" fmla="*/ 97 w 97"/>
                    <a:gd name="T78" fmla="*/ 1064 h 10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7" h="1064">
                      <a:moveTo>
                        <a:pt x="0" y="0"/>
                      </a:moveTo>
                      <a:lnTo>
                        <a:pt x="23" y="0"/>
                      </a:lnTo>
                      <a:lnTo>
                        <a:pt x="51" y="0"/>
                      </a:lnTo>
                      <a:lnTo>
                        <a:pt x="73" y="0"/>
                      </a:lnTo>
                      <a:lnTo>
                        <a:pt x="97" y="0"/>
                      </a:lnTo>
                      <a:lnTo>
                        <a:pt x="97" y="132"/>
                      </a:lnTo>
                      <a:lnTo>
                        <a:pt x="97" y="265"/>
                      </a:lnTo>
                      <a:lnTo>
                        <a:pt x="97" y="397"/>
                      </a:lnTo>
                      <a:lnTo>
                        <a:pt x="97" y="534"/>
                      </a:lnTo>
                      <a:lnTo>
                        <a:pt x="97" y="667"/>
                      </a:lnTo>
                      <a:lnTo>
                        <a:pt x="97" y="799"/>
                      </a:lnTo>
                      <a:lnTo>
                        <a:pt x="97" y="932"/>
                      </a:lnTo>
                      <a:lnTo>
                        <a:pt x="97" y="1064"/>
                      </a:lnTo>
                      <a:lnTo>
                        <a:pt x="73" y="1064"/>
                      </a:lnTo>
                      <a:lnTo>
                        <a:pt x="51" y="1064"/>
                      </a:lnTo>
                      <a:lnTo>
                        <a:pt x="23" y="1064"/>
                      </a:lnTo>
                      <a:lnTo>
                        <a:pt x="0" y="1064"/>
                      </a:lnTo>
                      <a:lnTo>
                        <a:pt x="0" y="932"/>
                      </a:lnTo>
                      <a:lnTo>
                        <a:pt x="0" y="799"/>
                      </a:lnTo>
                      <a:lnTo>
                        <a:pt x="0" y="667"/>
                      </a:lnTo>
                      <a:lnTo>
                        <a:pt x="0" y="534"/>
                      </a:lnTo>
                      <a:lnTo>
                        <a:pt x="0" y="397"/>
                      </a:lnTo>
                      <a:lnTo>
                        <a:pt x="0" y="265"/>
                      </a:lnTo>
                      <a:lnTo>
                        <a:pt x="0" y="132"/>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34" name="Freeform 755"/>
                <p:cNvSpPr>
                  <a:spLocks/>
                </p:cNvSpPr>
                <p:nvPr/>
              </p:nvSpPr>
              <p:spPr bwMode="auto">
                <a:xfrm>
                  <a:off x="2737" y="2278"/>
                  <a:ext cx="18" cy="198"/>
                </a:xfrm>
                <a:custGeom>
                  <a:avLst/>
                  <a:gdLst>
                    <a:gd name="T0" fmla="*/ 0 w 92"/>
                    <a:gd name="T1" fmla="*/ 0 h 992"/>
                    <a:gd name="T2" fmla="*/ 0 w 92"/>
                    <a:gd name="T3" fmla="*/ 0 h 992"/>
                    <a:gd name="T4" fmla="*/ 1 w 92"/>
                    <a:gd name="T5" fmla="*/ 0 h 992"/>
                    <a:gd name="T6" fmla="*/ 1 w 92"/>
                    <a:gd name="T7" fmla="*/ 1 h 992"/>
                    <a:gd name="T8" fmla="*/ 1 w 92"/>
                    <a:gd name="T9" fmla="*/ 2 h 992"/>
                    <a:gd name="T10" fmla="*/ 1 w 92"/>
                    <a:gd name="T11" fmla="*/ 3 h 992"/>
                    <a:gd name="T12" fmla="*/ 1 w 92"/>
                    <a:gd name="T13" fmla="*/ 4 h 992"/>
                    <a:gd name="T14" fmla="*/ 1 w 92"/>
                    <a:gd name="T15" fmla="*/ 5 h 992"/>
                    <a:gd name="T16" fmla="*/ 1 w 92"/>
                    <a:gd name="T17" fmla="*/ 6 h 992"/>
                    <a:gd name="T18" fmla="*/ 1 w 92"/>
                    <a:gd name="T19" fmla="*/ 7 h 992"/>
                    <a:gd name="T20" fmla="*/ 1 w 92"/>
                    <a:gd name="T21" fmla="*/ 8 h 992"/>
                    <a:gd name="T22" fmla="*/ 0 w 92"/>
                    <a:gd name="T23" fmla="*/ 8 h 992"/>
                    <a:gd name="T24" fmla="*/ 0 w 92"/>
                    <a:gd name="T25" fmla="*/ 8 h 992"/>
                    <a:gd name="T26" fmla="*/ 0 w 92"/>
                    <a:gd name="T27" fmla="*/ 7 h 992"/>
                    <a:gd name="T28" fmla="*/ 0 w 92"/>
                    <a:gd name="T29" fmla="*/ 6 h 992"/>
                    <a:gd name="T30" fmla="*/ 0 w 92"/>
                    <a:gd name="T31" fmla="*/ 5 h 992"/>
                    <a:gd name="T32" fmla="*/ 0 w 92"/>
                    <a:gd name="T33" fmla="*/ 4 h 992"/>
                    <a:gd name="T34" fmla="*/ 0 w 92"/>
                    <a:gd name="T35" fmla="*/ 3 h 992"/>
                    <a:gd name="T36" fmla="*/ 0 w 92"/>
                    <a:gd name="T37" fmla="*/ 2 h 992"/>
                    <a:gd name="T38" fmla="*/ 0 w 92"/>
                    <a:gd name="T39" fmla="*/ 1 h 992"/>
                    <a:gd name="T40" fmla="*/ 0 w 92"/>
                    <a:gd name="T41" fmla="*/ 0 h 9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
                    <a:gd name="T64" fmla="*/ 0 h 992"/>
                    <a:gd name="T65" fmla="*/ 92 w 92"/>
                    <a:gd name="T66" fmla="*/ 992 h 9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 h="992">
                      <a:moveTo>
                        <a:pt x="0" y="0"/>
                      </a:moveTo>
                      <a:lnTo>
                        <a:pt x="46" y="0"/>
                      </a:lnTo>
                      <a:lnTo>
                        <a:pt x="92" y="0"/>
                      </a:lnTo>
                      <a:lnTo>
                        <a:pt x="92" y="123"/>
                      </a:lnTo>
                      <a:lnTo>
                        <a:pt x="92" y="247"/>
                      </a:lnTo>
                      <a:lnTo>
                        <a:pt x="92" y="370"/>
                      </a:lnTo>
                      <a:lnTo>
                        <a:pt x="92" y="498"/>
                      </a:lnTo>
                      <a:lnTo>
                        <a:pt x="92" y="621"/>
                      </a:lnTo>
                      <a:lnTo>
                        <a:pt x="92" y="745"/>
                      </a:lnTo>
                      <a:lnTo>
                        <a:pt x="92" y="868"/>
                      </a:lnTo>
                      <a:lnTo>
                        <a:pt x="92" y="992"/>
                      </a:lnTo>
                      <a:lnTo>
                        <a:pt x="46" y="992"/>
                      </a:lnTo>
                      <a:lnTo>
                        <a:pt x="0" y="992"/>
                      </a:lnTo>
                      <a:lnTo>
                        <a:pt x="0" y="868"/>
                      </a:lnTo>
                      <a:lnTo>
                        <a:pt x="0" y="745"/>
                      </a:lnTo>
                      <a:lnTo>
                        <a:pt x="0" y="621"/>
                      </a:lnTo>
                      <a:lnTo>
                        <a:pt x="0" y="498"/>
                      </a:lnTo>
                      <a:lnTo>
                        <a:pt x="0" y="370"/>
                      </a:lnTo>
                      <a:lnTo>
                        <a:pt x="0" y="247"/>
                      </a:lnTo>
                      <a:lnTo>
                        <a:pt x="0" y="123"/>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35" name="Freeform 756"/>
                <p:cNvSpPr>
                  <a:spLocks/>
                </p:cNvSpPr>
                <p:nvPr/>
              </p:nvSpPr>
              <p:spPr bwMode="auto">
                <a:xfrm>
                  <a:off x="2903" y="2305"/>
                  <a:ext cx="16" cy="189"/>
                </a:xfrm>
                <a:custGeom>
                  <a:avLst/>
                  <a:gdLst>
                    <a:gd name="T0" fmla="*/ 0 w 82"/>
                    <a:gd name="T1" fmla="*/ 0 h 947"/>
                    <a:gd name="T2" fmla="*/ 0 w 82"/>
                    <a:gd name="T3" fmla="*/ 0 h 947"/>
                    <a:gd name="T4" fmla="*/ 1 w 82"/>
                    <a:gd name="T5" fmla="*/ 0 h 947"/>
                    <a:gd name="T6" fmla="*/ 1 w 82"/>
                    <a:gd name="T7" fmla="*/ 1 h 947"/>
                    <a:gd name="T8" fmla="*/ 1 w 82"/>
                    <a:gd name="T9" fmla="*/ 2 h 947"/>
                    <a:gd name="T10" fmla="*/ 1 w 82"/>
                    <a:gd name="T11" fmla="*/ 3 h 947"/>
                    <a:gd name="T12" fmla="*/ 1 w 82"/>
                    <a:gd name="T13" fmla="*/ 4 h 947"/>
                    <a:gd name="T14" fmla="*/ 1 w 82"/>
                    <a:gd name="T15" fmla="*/ 5 h 947"/>
                    <a:gd name="T16" fmla="*/ 1 w 82"/>
                    <a:gd name="T17" fmla="*/ 6 h 947"/>
                    <a:gd name="T18" fmla="*/ 1 w 82"/>
                    <a:gd name="T19" fmla="*/ 7 h 947"/>
                    <a:gd name="T20" fmla="*/ 1 w 82"/>
                    <a:gd name="T21" fmla="*/ 8 h 947"/>
                    <a:gd name="T22" fmla="*/ 0 w 82"/>
                    <a:gd name="T23" fmla="*/ 8 h 947"/>
                    <a:gd name="T24" fmla="*/ 0 w 82"/>
                    <a:gd name="T25" fmla="*/ 8 h 947"/>
                    <a:gd name="T26" fmla="*/ 0 w 82"/>
                    <a:gd name="T27" fmla="*/ 7 h 947"/>
                    <a:gd name="T28" fmla="*/ 0 w 82"/>
                    <a:gd name="T29" fmla="*/ 6 h 947"/>
                    <a:gd name="T30" fmla="*/ 0 w 82"/>
                    <a:gd name="T31" fmla="*/ 5 h 947"/>
                    <a:gd name="T32" fmla="*/ 0 w 82"/>
                    <a:gd name="T33" fmla="*/ 4 h 947"/>
                    <a:gd name="T34" fmla="*/ 0 w 82"/>
                    <a:gd name="T35" fmla="*/ 3 h 947"/>
                    <a:gd name="T36" fmla="*/ 0 w 82"/>
                    <a:gd name="T37" fmla="*/ 2 h 947"/>
                    <a:gd name="T38" fmla="*/ 0 w 82"/>
                    <a:gd name="T39" fmla="*/ 1 h 947"/>
                    <a:gd name="T40" fmla="*/ 0 w 82"/>
                    <a:gd name="T41" fmla="*/ 0 h 9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2"/>
                    <a:gd name="T64" fmla="*/ 0 h 947"/>
                    <a:gd name="T65" fmla="*/ 82 w 82"/>
                    <a:gd name="T66" fmla="*/ 947 h 9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2" h="947">
                      <a:moveTo>
                        <a:pt x="0" y="0"/>
                      </a:moveTo>
                      <a:lnTo>
                        <a:pt x="41" y="0"/>
                      </a:lnTo>
                      <a:lnTo>
                        <a:pt x="82" y="0"/>
                      </a:lnTo>
                      <a:lnTo>
                        <a:pt x="82" y="119"/>
                      </a:lnTo>
                      <a:lnTo>
                        <a:pt x="82" y="239"/>
                      </a:lnTo>
                      <a:lnTo>
                        <a:pt x="82" y="358"/>
                      </a:lnTo>
                      <a:lnTo>
                        <a:pt x="82" y="476"/>
                      </a:lnTo>
                      <a:lnTo>
                        <a:pt x="82" y="591"/>
                      </a:lnTo>
                      <a:lnTo>
                        <a:pt x="82" y="709"/>
                      </a:lnTo>
                      <a:lnTo>
                        <a:pt x="82" y="828"/>
                      </a:lnTo>
                      <a:lnTo>
                        <a:pt x="82" y="947"/>
                      </a:lnTo>
                      <a:lnTo>
                        <a:pt x="41" y="947"/>
                      </a:lnTo>
                      <a:lnTo>
                        <a:pt x="0" y="947"/>
                      </a:lnTo>
                      <a:lnTo>
                        <a:pt x="0" y="828"/>
                      </a:lnTo>
                      <a:lnTo>
                        <a:pt x="0" y="709"/>
                      </a:lnTo>
                      <a:lnTo>
                        <a:pt x="0" y="591"/>
                      </a:lnTo>
                      <a:lnTo>
                        <a:pt x="0" y="476"/>
                      </a:lnTo>
                      <a:lnTo>
                        <a:pt x="0" y="358"/>
                      </a:lnTo>
                      <a:lnTo>
                        <a:pt x="0" y="239"/>
                      </a:lnTo>
                      <a:lnTo>
                        <a:pt x="0" y="119"/>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36" name="Freeform 757"/>
                <p:cNvSpPr>
                  <a:spLocks/>
                </p:cNvSpPr>
                <p:nvPr/>
              </p:nvSpPr>
              <p:spPr bwMode="auto">
                <a:xfrm>
                  <a:off x="3039" y="2331"/>
                  <a:ext cx="17" cy="175"/>
                </a:xfrm>
                <a:custGeom>
                  <a:avLst/>
                  <a:gdLst>
                    <a:gd name="T0" fmla="*/ 0 w 83"/>
                    <a:gd name="T1" fmla="*/ 0 h 878"/>
                    <a:gd name="T2" fmla="*/ 0 w 83"/>
                    <a:gd name="T3" fmla="*/ 0 h 878"/>
                    <a:gd name="T4" fmla="*/ 0 w 83"/>
                    <a:gd name="T5" fmla="*/ 0 h 878"/>
                    <a:gd name="T6" fmla="*/ 0 w 83"/>
                    <a:gd name="T7" fmla="*/ 0 h 878"/>
                    <a:gd name="T8" fmla="*/ 1 w 83"/>
                    <a:gd name="T9" fmla="*/ 0 h 878"/>
                    <a:gd name="T10" fmla="*/ 1 w 83"/>
                    <a:gd name="T11" fmla="*/ 1 h 878"/>
                    <a:gd name="T12" fmla="*/ 1 w 83"/>
                    <a:gd name="T13" fmla="*/ 2 h 878"/>
                    <a:gd name="T14" fmla="*/ 1 w 83"/>
                    <a:gd name="T15" fmla="*/ 3 h 878"/>
                    <a:gd name="T16" fmla="*/ 1 w 83"/>
                    <a:gd name="T17" fmla="*/ 3 h 878"/>
                    <a:gd name="T18" fmla="*/ 1 w 83"/>
                    <a:gd name="T19" fmla="*/ 4 h 878"/>
                    <a:gd name="T20" fmla="*/ 1 w 83"/>
                    <a:gd name="T21" fmla="*/ 5 h 878"/>
                    <a:gd name="T22" fmla="*/ 1 w 83"/>
                    <a:gd name="T23" fmla="*/ 6 h 878"/>
                    <a:gd name="T24" fmla="*/ 1 w 83"/>
                    <a:gd name="T25" fmla="*/ 7 h 878"/>
                    <a:gd name="T26" fmla="*/ 0 w 83"/>
                    <a:gd name="T27" fmla="*/ 7 h 878"/>
                    <a:gd name="T28" fmla="*/ 0 w 83"/>
                    <a:gd name="T29" fmla="*/ 7 h 878"/>
                    <a:gd name="T30" fmla="*/ 0 w 83"/>
                    <a:gd name="T31" fmla="*/ 7 h 878"/>
                    <a:gd name="T32" fmla="*/ 0 w 83"/>
                    <a:gd name="T33" fmla="*/ 7 h 878"/>
                    <a:gd name="T34" fmla="*/ 0 w 83"/>
                    <a:gd name="T35" fmla="*/ 6 h 878"/>
                    <a:gd name="T36" fmla="*/ 0 w 83"/>
                    <a:gd name="T37" fmla="*/ 5 h 878"/>
                    <a:gd name="T38" fmla="*/ 0 w 83"/>
                    <a:gd name="T39" fmla="*/ 4 h 878"/>
                    <a:gd name="T40" fmla="*/ 0 w 83"/>
                    <a:gd name="T41" fmla="*/ 3 h 878"/>
                    <a:gd name="T42" fmla="*/ 0 w 83"/>
                    <a:gd name="T43" fmla="*/ 3 h 878"/>
                    <a:gd name="T44" fmla="*/ 0 w 83"/>
                    <a:gd name="T45" fmla="*/ 2 h 878"/>
                    <a:gd name="T46" fmla="*/ 0 w 83"/>
                    <a:gd name="T47" fmla="*/ 1 h 878"/>
                    <a:gd name="T48" fmla="*/ 0 w 83"/>
                    <a:gd name="T49" fmla="*/ 0 h 8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3"/>
                    <a:gd name="T76" fmla="*/ 0 h 878"/>
                    <a:gd name="T77" fmla="*/ 83 w 83"/>
                    <a:gd name="T78" fmla="*/ 878 h 8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3" h="878">
                      <a:moveTo>
                        <a:pt x="0" y="0"/>
                      </a:moveTo>
                      <a:lnTo>
                        <a:pt x="14" y="0"/>
                      </a:lnTo>
                      <a:lnTo>
                        <a:pt x="32" y="0"/>
                      </a:lnTo>
                      <a:lnTo>
                        <a:pt x="56" y="0"/>
                      </a:lnTo>
                      <a:lnTo>
                        <a:pt x="83" y="0"/>
                      </a:lnTo>
                      <a:lnTo>
                        <a:pt x="83" y="110"/>
                      </a:lnTo>
                      <a:lnTo>
                        <a:pt x="83" y="219"/>
                      </a:lnTo>
                      <a:lnTo>
                        <a:pt x="83" y="329"/>
                      </a:lnTo>
                      <a:lnTo>
                        <a:pt x="83" y="438"/>
                      </a:lnTo>
                      <a:lnTo>
                        <a:pt x="83" y="548"/>
                      </a:lnTo>
                      <a:lnTo>
                        <a:pt x="83" y="658"/>
                      </a:lnTo>
                      <a:lnTo>
                        <a:pt x="83" y="767"/>
                      </a:lnTo>
                      <a:lnTo>
                        <a:pt x="83" y="878"/>
                      </a:lnTo>
                      <a:lnTo>
                        <a:pt x="56" y="878"/>
                      </a:lnTo>
                      <a:lnTo>
                        <a:pt x="32" y="878"/>
                      </a:lnTo>
                      <a:lnTo>
                        <a:pt x="14" y="878"/>
                      </a:lnTo>
                      <a:lnTo>
                        <a:pt x="0" y="878"/>
                      </a:lnTo>
                      <a:lnTo>
                        <a:pt x="0" y="767"/>
                      </a:lnTo>
                      <a:lnTo>
                        <a:pt x="0" y="658"/>
                      </a:lnTo>
                      <a:lnTo>
                        <a:pt x="0" y="548"/>
                      </a:lnTo>
                      <a:lnTo>
                        <a:pt x="0" y="438"/>
                      </a:lnTo>
                      <a:lnTo>
                        <a:pt x="0" y="329"/>
                      </a:lnTo>
                      <a:lnTo>
                        <a:pt x="0" y="219"/>
                      </a:lnTo>
                      <a:lnTo>
                        <a:pt x="0" y="110"/>
                      </a:lnTo>
                      <a:lnTo>
                        <a:pt x="0"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37" name="Rectangle 758"/>
                <p:cNvSpPr>
                  <a:spLocks noChangeArrowheads="1"/>
                </p:cNvSpPr>
                <p:nvPr/>
              </p:nvSpPr>
              <p:spPr bwMode="auto">
                <a:xfrm>
                  <a:off x="1704" y="2354"/>
                  <a:ext cx="13" cy="164"/>
                </a:xfrm>
                <a:prstGeom prst="rect">
                  <a:avLst/>
                </a:prstGeom>
                <a:solidFill>
                  <a:srgbClr val="808080"/>
                </a:solidFill>
                <a:ln w="9525">
                  <a:solidFill>
                    <a:srgbClr val="808080"/>
                  </a:solidFill>
                  <a:miter lim="800000"/>
                  <a:headEnd/>
                  <a:tailEnd/>
                </a:ln>
              </p:spPr>
              <p:txBody>
                <a:bodyPr/>
                <a:lstStyle/>
                <a:p>
                  <a:pPr algn="ctr" fontAlgn="base">
                    <a:spcBef>
                      <a:spcPct val="0"/>
                    </a:spcBef>
                    <a:spcAft>
                      <a:spcPct val="0"/>
                    </a:spcAft>
                  </a:pPr>
                  <a:endParaRPr lang="en-US" dirty="0">
                    <a:solidFill>
                      <a:srgbClr val="000000"/>
                    </a:solidFill>
                  </a:endParaRPr>
                </a:p>
              </p:txBody>
            </p:sp>
            <p:sp>
              <p:nvSpPr>
                <p:cNvPr id="24638" name="Freeform 759"/>
                <p:cNvSpPr>
                  <a:spLocks/>
                </p:cNvSpPr>
                <p:nvPr/>
              </p:nvSpPr>
              <p:spPr bwMode="auto">
                <a:xfrm>
                  <a:off x="1873" y="2240"/>
                  <a:ext cx="1397" cy="222"/>
                </a:xfrm>
                <a:custGeom>
                  <a:avLst/>
                  <a:gdLst>
                    <a:gd name="T0" fmla="*/ 0 w 6988"/>
                    <a:gd name="T1" fmla="*/ 0 h 1110"/>
                    <a:gd name="T2" fmla="*/ 56 w 6988"/>
                    <a:gd name="T3" fmla="*/ 8 h 1110"/>
                    <a:gd name="T4" fmla="*/ 56 w 6988"/>
                    <a:gd name="T5" fmla="*/ 9 h 1110"/>
                    <a:gd name="T6" fmla="*/ 0 w 6988"/>
                    <a:gd name="T7" fmla="*/ 1 h 1110"/>
                    <a:gd name="T8" fmla="*/ 0 w 6988"/>
                    <a:gd name="T9" fmla="*/ 0 h 1110"/>
                    <a:gd name="T10" fmla="*/ 0 60000 65536"/>
                    <a:gd name="T11" fmla="*/ 0 60000 65536"/>
                    <a:gd name="T12" fmla="*/ 0 60000 65536"/>
                    <a:gd name="T13" fmla="*/ 0 60000 65536"/>
                    <a:gd name="T14" fmla="*/ 0 60000 65536"/>
                    <a:gd name="T15" fmla="*/ 0 w 6988"/>
                    <a:gd name="T16" fmla="*/ 0 h 1110"/>
                    <a:gd name="T17" fmla="*/ 6988 w 6988"/>
                    <a:gd name="T18" fmla="*/ 1110 h 1110"/>
                  </a:gdLst>
                  <a:ahLst/>
                  <a:cxnLst>
                    <a:cxn ang="T10">
                      <a:pos x="T0" y="T1"/>
                    </a:cxn>
                    <a:cxn ang="T11">
                      <a:pos x="T2" y="T3"/>
                    </a:cxn>
                    <a:cxn ang="T12">
                      <a:pos x="T4" y="T5"/>
                    </a:cxn>
                    <a:cxn ang="T13">
                      <a:pos x="T6" y="T7"/>
                    </a:cxn>
                    <a:cxn ang="T14">
                      <a:pos x="T8" y="T9"/>
                    </a:cxn>
                  </a:cxnLst>
                  <a:rect l="T15" t="T16" r="T17" b="T18"/>
                  <a:pathLst>
                    <a:path w="6988" h="1110">
                      <a:moveTo>
                        <a:pt x="0" y="0"/>
                      </a:moveTo>
                      <a:lnTo>
                        <a:pt x="6988" y="1041"/>
                      </a:lnTo>
                      <a:lnTo>
                        <a:pt x="6988" y="1110"/>
                      </a:lnTo>
                      <a:lnTo>
                        <a:pt x="0" y="104"/>
                      </a:lnTo>
                      <a:lnTo>
                        <a:pt x="0" y="0"/>
                      </a:lnTo>
                      <a:close/>
                    </a:path>
                  </a:pathLst>
                </a:custGeom>
                <a:solidFill>
                  <a:srgbClr val="808080"/>
                </a:solidFill>
                <a:ln w="0">
                  <a:solidFill>
                    <a:srgbClr val="808080"/>
                  </a:solid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39" name="Freeform 760"/>
                <p:cNvSpPr>
                  <a:spLocks/>
                </p:cNvSpPr>
                <p:nvPr/>
              </p:nvSpPr>
              <p:spPr bwMode="auto">
                <a:xfrm>
                  <a:off x="1468" y="2240"/>
                  <a:ext cx="393" cy="61"/>
                </a:xfrm>
                <a:custGeom>
                  <a:avLst/>
                  <a:gdLst>
                    <a:gd name="T0" fmla="*/ 16 w 1965"/>
                    <a:gd name="T1" fmla="*/ 0 h 301"/>
                    <a:gd name="T2" fmla="*/ 0 w 1965"/>
                    <a:gd name="T3" fmla="*/ 2 h 301"/>
                    <a:gd name="T4" fmla="*/ 0 w 1965"/>
                    <a:gd name="T5" fmla="*/ 2 h 301"/>
                    <a:gd name="T6" fmla="*/ 16 w 1965"/>
                    <a:gd name="T7" fmla="*/ 1 h 301"/>
                    <a:gd name="T8" fmla="*/ 16 w 1965"/>
                    <a:gd name="T9" fmla="*/ 0 h 301"/>
                    <a:gd name="T10" fmla="*/ 0 60000 65536"/>
                    <a:gd name="T11" fmla="*/ 0 60000 65536"/>
                    <a:gd name="T12" fmla="*/ 0 60000 65536"/>
                    <a:gd name="T13" fmla="*/ 0 60000 65536"/>
                    <a:gd name="T14" fmla="*/ 0 60000 65536"/>
                    <a:gd name="T15" fmla="*/ 0 w 1965"/>
                    <a:gd name="T16" fmla="*/ 0 h 301"/>
                    <a:gd name="T17" fmla="*/ 1965 w 1965"/>
                    <a:gd name="T18" fmla="*/ 301 h 301"/>
                  </a:gdLst>
                  <a:ahLst/>
                  <a:cxnLst>
                    <a:cxn ang="T10">
                      <a:pos x="T0" y="T1"/>
                    </a:cxn>
                    <a:cxn ang="T11">
                      <a:pos x="T2" y="T3"/>
                    </a:cxn>
                    <a:cxn ang="T12">
                      <a:pos x="T4" y="T5"/>
                    </a:cxn>
                    <a:cxn ang="T13">
                      <a:pos x="T6" y="T7"/>
                    </a:cxn>
                    <a:cxn ang="T14">
                      <a:pos x="T8" y="T9"/>
                    </a:cxn>
                  </a:cxnLst>
                  <a:rect l="T15" t="T16" r="T17" b="T18"/>
                  <a:pathLst>
                    <a:path w="1965" h="301">
                      <a:moveTo>
                        <a:pt x="1965" y="0"/>
                      </a:moveTo>
                      <a:lnTo>
                        <a:pt x="0" y="241"/>
                      </a:lnTo>
                      <a:lnTo>
                        <a:pt x="0" y="301"/>
                      </a:lnTo>
                      <a:lnTo>
                        <a:pt x="1942" y="127"/>
                      </a:lnTo>
                      <a:lnTo>
                        <a:pt x="1965" y="0"/>
                      </a:lnTo>
                      <a:close/>
                    </a:path>
                  </a:pathLst>
                </a:custGeom>
                <a:solidFill>
                  <a:srgbClr val="808080"/>
                </a:solidFill>
                <a:ln w="9525">
                  <a:solidFill>
                    <a:srgbClr val="808080"/>
                  </a:solid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40" name="Freeform 761"/>
                <p:cNvSpPr>
                  <a:spLocks/>
                </p:cNvSpPr>
                <p:nvPr/>
              </p:nvSpPr>
              <p:spPr bwMode="auto">
                <a:xfrm>
                  <a:off x="3407" y="2296"/>
                  <a:ext cx="131" cy="69"/>
                </a:xfrm>
                <a:custGeom>
                  <a:avLst/>
                  <a:gdLst>
                    <a:gd name="T0" fmla="*/ 0 w 658"/>
                    <a:gd name="T1" fmla="*/ 2 h 346"/>
                    <a:gd name="T2" fmla="*/ 0 w 658"/>
                    <a:gd name="T3" fmla="*/ 0 h 346"/>
                    <a:gd name="T4" fmla="*/ 5 w 658"/>
                    <a:gd name="T5" fmla="*/ 0 h 346"/>
                    <a:gd name="T6" fmla="*/ 5 w 658"/>
                    <a:gd name="T7" fmla="*/ 3 h 346"/>
                    <a:gd name="T8" fmla="*/ 0 w 658"/>
                    <a:gd name="T9" fmla="*/ 2 h 346"/>
                    <a:gd name="T10" fmla="*/ 0 60000 65536"/>
                    <a:gd name="T11" fmla="*/ 0 60000 65536"/>
                    <a:gd name="T12" fmla="*/ 0 60000 65536"/>
                    <a:gd name="T13" fmla="*/ 0 60000 65536"/>
                    <a:gd name="T14" fmla="*/ 0 60000 65536"/>
                    <a:gd name="T15" fmla="*/ 0 w 658"/>
                    <a:gd name="T16" fmla="*/ 0 h 346"/>
                    <a:gd name="T17" fmla="*/ 658 w 658"/>
                    <a:gd name="T18" fmla="*/ 346 h 346"/>
                  </a:gdLst>
                  <a:ahLst/>
                  <a:cxnLst>
                    <a:cxn ang="T10">
                      <a:pos x="T0" y="T1"/>
                    </a:cxn>
                    <a:cxn ang="T11">
                      <a:pos x="T2" y="T3"/>
                    </a:cxn>
                    <a:cxn ang="T12">
                      <a:pos x="T4" y="T5"/>
                    </a:cxn>
                    <a:cxn ang="T13">
                      <a:pos x="T6" y="T7"/>
                    </a:cxn>
                    <a:cxn ang="T14">
                      <a:pos x="T8" y="T9"/>
                    </a:cxn>
                  </a:cxnLst>
                  <a:rect l="T15" t="T16" r="T17" b="T18"/>
                  <a:pathLst>
                    <a:path w="658" h="346">
                      <a:moveTo>
                        <a:pt x="0" y="310"/>
                      </a:moveTo>
                      <a:lnTo>
                        <a:pt x="32" y="54"/>
                      </a:lnTo>
                      <a:lnTo>
                        <a:pt x="644" y="0"/>
                      </a:lnTo>
                      <a:lnTo>
                        <a:pt x="658" y="346"/>
                      </a:lnTo>
                      <a:lnTo>
                        <a:pt x="0" y="31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41" name="Freeform 762"/>
                <p:cNvSpPr>
                  <a:spLocks/>
                </p:cNvSpPr>
                <p:nvPr/>
              </p:nvSpPr>
              <p:spPr bwMode="auto">
                <a:xfrm>
                  <a:off x="3413" y="2377"/>
                  <a:ext cx="139" cy="37"/>
                </a:xfrm>
                <a:custGeom>
                  <a:avLst/>
                  <a:gdLst>
                    <a:gd name="T0" fmla="*/ 0 w 694"/>
                    <a:gd name="T1" fmla="*/ 0 h 187"/>
                    <a:gd name="T2" fmla="*/ 5 w 694"/>
                    <a:gd name="T3" fmla="*/ 0 h 187"/>
                    <a:gd name="T4" fmla="*/ 6 w 694"/>
                    <a:gd name="T5" fmla="*/ 1 h 187"/>
                    <a:gd name="T6" fmla="*/ 1 w 694"/>
                    <a:gd name="T7" fmla="*/ 1 h 187"/>
                    <a:gd name="T8" fmla="*/ 0 w 694"/>
                    <a:gd name="T9" fmla="*/ 0 h 187"/>
                    <a:gd name="T10" fmla="*/ 0 60000 65536"/>
                    <a:gd name="T11" fmla="*/ 0 60000 65536"/>
                    <a:gd name="T12" fmla="*/ 0 60000 65536"/>
                    <a:gd name="T13" fmla="*/ 0 60000 65536"/>
                    <a:gd name="T14" fmla="*/ 0 60000 65536"/>
                    <a:gd name="T15" fmla="*/ 0 w 694"/>
                    <a:gd name="T16" fmla="*/ 0 h 187"/>
                    <a:gd name="T17" fmla="*/ 694 w 694"/>
                    <a:gd name="T18" fmla="*/ 187 h 187"/>
                  </a:gdLst>
                  <a:ahLst/>
                  <a:cxnLst>
                    <a:cxn ang="T10">
                      <a:pos x="T0" y="T1"/>
                    </a:cxn>
                    <a:cxn ang="T11">
                      <a:pos x="T2" y="T3"/>
                    </a:cxn>
                    <a:cxn ang="T12">
                      <a:pos x="T4" y="T5"/>
                    </a:cxn>
                    <a:cxn ang="T13">
                      <a:pos x="T6" y="T7"/>
                    </a:cxn>
                    <a:cxn ang="T14">
                      <a:pos x="T8" y="T9"/>
                    </a:cxn>
                  </a:cxnLst>
                  <a:rect l="T15" t="T16" r="T17" b="T18"/>
                  <a:pathLst>
                    <a:path w="694" h="187">
                      <a:moveTo>
                        <a:pt x="0" y="0"/>
                      </a:moveTo>
                      <a:lnTo>
                        <a:pt x="612" y="13"/>
                      </a:lnTo>
                      <a:lnTo>
                        <a:pt x="694" y="187"/>
                      </a:lnTo>
                      <a:lnTo>
                        <a:pt x="118" y="187"/>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42" name="Freeform 763"/>
                <p:cNvSpPr>
                  <a:spLocks/>
                </p:cNvSpPr>
                <p:nvPr/>
              </p:nvSpPr>
              <p:spPr bwMode="auto">
                <a:xfrm>
                  <a:off x="3425" y="2434"/>
                  <a:ext cx="122" cy="123"/>
                </a:xfrm>
                <a:custGeom>
                  <a:avLst/>
                  <a:gdLst>
                    <a:gd name="T0" fmla="*/ 1 w 612"/>
                    <a:gd name="T1" fmla="*/ 0 h 613"/>
                    <a:gd name="T2" fmla="*/ 0 w 612"/>
                    <a:gd name="T3" fmla="*/ 4 h 613"/>
                    <a:gd name="T4" fmla="*/ 5 w 612"/>
                    <a:gd name="T5" fmla="*/ 5 h 613"/>
                    <a:gd name="T6" fmla="*/ 5 w 612"/>
                    <a:gd name="T7" fmla="*/ 0 h 613"/>
                    <a:gd name="T8" fmla="*/ 1 w 612"/>
                    <a:gd name="T9" fmla="*/ 0 h 613"/>
                    <a:gd name="T10" fmla="*/ 0 60000 65536"/>
                    <a:gd name="T11" fmla="*/ 0 60000 65536"/>
                    <a:gd name="T12" fmla="*/ 0 60000 65536"/>
                    <a:gd name="T13" fmla="*/ 0 60000 65536"/>
                    <a:gd name="T14" fmla="*/ 0 60000 65536"/>
                    <a:gd name="T15" fmla="*/ 0 w 612"/>
                    <a:gd name="T16" fmla="*/ 0 h 613"/>
                    <a:gd name="T17" fmla="*/ 612 w 612"/>
                    <a:gd name="T18" fmla="*/ 613 h 613"/>
                  </a:gdLst>
                  <a:ahLst/>
                  <a:cxnLst>
                    <a:cxn ang="T10">
                      <a:pos x="T0" y="T1"/>
                    </a:cxn>
                    <a:cxn ang="T11">
                      <a:pos x="T2" y="T3"/>
                    </a:cxn>
                    <a:cxn ang="T12">
                      <a:pos x="T4" y="T5"/>
                    </a:cxn>
                    <a:cxn ang="T13">
                      <a:pos x="T6" y="T7"/>
                    </a:cxn>
                    <a:cxn ang="T14">
                      <a:pos x="T8" y="T9"/>
                    </a:cxn>
                  </a:cxnLst>
                  <a:rect l="T15" t="T16" r="T17" b="T18"/>
                  <a:pathLst>
                    <a:path w="612" h="613">
                      <a:moveTo>
                        <a:pt x="68" y="0"/>
                      </a:moveTo>
                      <a:lnTo>
                        <a:pt x="0" y="558"/>
                      </a:lnTo>
                      <a:lnTo>
                        <a:pt x="612" y="613"/>
                      </a:lnTo>
                      <a:lnTo>
                        <a:pt x="612" y="0"/>
                      </a:lnTo>
                      <a:lnTo>
                        <a:pt x="68"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43" name="Freeform 764"/>
                <p:cNvSpPr>
                  <a:spLocks/>
                </p:cNvSpPr>
                <p:nvPr/>
              </p:nvSpPr>
              <p:spPr bwMode="auto">
                <a:xfrm>
                  <a:off x="3578" y="2453"/>
                  <a:ext cx="117" cy="113"/>
                </a:xfrm>
                <a:custGeom>
                  <a:avLst/>
                  <a:gdLst>
                    <a:gd name="T0" fmla="*/ 0 w 589"/>
                    <a:gd name="T1" fmla="*/ 0 h 563"/>
                    <a:gd name="T2" fmla="*/ 0 w 589"/>
                    <a:gd name="T3" fmla="*/ 4 h 563"/>
                    <a:gd name="T4" fmla="*/ 5 w 589"/>
                    <a:gd name="T5" fmla="*/ 5 h 563"/>
                    <a:gd name="T6" fmla="*/ 5 w 589"/>
                    <a:gd name="T7" fmla="*/ 0 h 563"/>
                    <a:gd name="T8" fmla="*/ 0 w 589"/>
                    <a:gd name="T9" fmla="*/ 0 h 563"/>
                    <a:gd name="T10" fmla="*/ 0 60000 65536"/>
                    <a:gd name="T11" fmla="*/ 0 60000 65536"/>
                    <a:gd name="T12" fmla="*/ 0 60000 65536"/>
                    <a:gd name="T13" fmla="*/ 0 60000 65536"/>
                    <a:gd name="T14" fmla="*/ 0 60000 65536"/>
                    <a:gd name="T15" fmla="*/ 0 w 589"/>
                    <a:gd name="T16" fmla="*/ 0 h 563"/>
                    <a:gd name="T17" fmla="*/ 589 w 589"/>
                    <a:gd name="T18" fmla="*/ 563 h 563"/>
                  </a:gdLst>
                  <a:ahLst/>
                  <a:cxnLst>
                    <a:cxn ang="T10">
                      <a:pos x="T0" y="T1"/>
                    </a:cxn>
                    <a:cxn ang="T11">
                      <a:pos x="T2" y="T3"/>
                    </a:cxn>
                    <a:cxn ang="T12">
                      <a:pos x="T4" y="T5"/>
                    </a:cxn>
                    <a:cxn ang="T13">
                      <a:pos x="T6" y="T7"/>
                    </a:cxn>
                    <a:cxn ang="T14">
                      <a:pos x="T8" y="T9"/>
                    </a:cxn>
                  </a:cxnLst>
                  <a:rect l="T15" t="T16" r="T17" b="T18"/>
                  <a:pathLst>
                    <a:path w="589" h="563">
                      <a:moveTo>
                        <a:pt x="0" y="0"/>
                      </a:moveTo>
                      <a:lnTo>
                        <a:pt x="8" y="507"/>
                      </a:lnTo>
                      <a:lnTo>
                        <a:pt x="589" y="563"/>
                      </a:lnTo>
                      <a:lnTo>
                        <a:pt x="589" y="46"/>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44" name="Freeform 765"/>
                <p:cNvSpPr>
                  <a:spLocks/>
                </p:cNvSpPr>
                <p:nvPr/>
              </p:nvSpPr>
              <p:spPr bwMode="auto">
                <a:xfrm>
                  <a:off x="3564" y="2384"/>
                  <a:ext cx="133" cy="44"/>
                </a:xfrm>
                <a:custGeom>
                  <a:avLst/>
                  <a:gdLst>
                    <a:gd name="T0" fmla="*/ 0 w 667"/>
                    <a:gd name="T1" fmla="*/ 0 h 219"/>
                    <a:gd name="T2" fmla="*/ 5 w 667"/>
                    <a:gd name="T3" fmla="*/ 0 h 219"/>
                    <a:gd name="T4" fmla="*/ 5 w 667"/>
                    <a:gd name="T5" fmla="*/ 2 h 219"/>
                    <a:gd name="T6" fmla="*/ 1 w 667"/>
                    <a:gd name="T7" fmla="*/ 2 h 219"/>
                    <a:gd name="T8" fmla="*/ 0 w 667"/>
                    <a:gd name="T9" fmla="*/ 0 h 219"/>
                    <a:gd name="T10" fmla="*/ 0 60000 65536"/>
                    <a:gd name="T11" fmla="*/ 0 60000 65536"/>
                    <a:gd name="T12" fmla="*/ 0 60000 65536"/>
                    <a:gd name="T13" fmla="*/ 0 60000 65536"/>
                    <a:gd name="T14" fmla="*/ 0 60000 65536"/>
                    <a:gd name="T15" fmla="*/ 0 w 667"/>
                    <a:gd name="T16" fmla="*/ 0 h 219"/>
                    <a:gd name="T17" fmla="*/ 667 w 667"/>
                    <a:gd name="T18" fmla="*/ 219 h 219"/>
                  </a:gdLst>
                  <a:ahLst/>
                  <a:cxnLst>
                    <a:cxn ang="T10">
                      <a:pos x="T0" y="T1"/>
                    </a:cxn>
                    <a:cxn ang="T11">
                      <a:pos x="T2" y="T3"/>
                    </a:cxn>
                    <a:cxn ang="T12">
                      <a:pos x="T4" y="T5"/>
                    </a:cxn>
                    <a:cxn ang="T13">
                      <a:pos x="T6" y="T7"/>
                    </a:cxn>
                    <a:cxn ang="T14">
                      <a:pos x="T8" y="T9"/>
                    </a:cxn>
                  </a:cxnLst>
                  <a:rect l="T15" t="T16" r="T17" b="T18"/>
                  <a:pathLst>
                    <a:path w="667" h="219">
                      <a:moveTo>
                        <a:pt x="0" y="0"/>
                      </a:moveTo>
                      <a:lnTo>
                        <a:pt x="567" y="54"/>
                      </a:lnTo>
                      <a:lnTo>
                        <a:pt x="667" y="219"/>
                      </a:lnTo>
                      <a:lnTo>
                        <a:pt x="114" y="197"/>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45" name="Freeform 766"/>
                <p:cNvSpPr>
                  <a:spLocks/>
                </p:cNvSpPr>
                <p:nvPr/>
              </p:nvSpPr>
              <p:spPr bwMode="auto">
                <a:xfrm>
                  <a:off x="3561" y="2310"/>
                  <a:ext cx="106" cy="57"/>
                </a:xfrm>
                <a:custGeom>
                  <a:avLst/>
                  <a:gdLst>
                    <a:gd name="T0" fmla="*/ 0 w 531"/>
                    <a:gd name="T1" fmla="*/ 0 h 288"/>
                    <a:gd name="T2" fmla="*/ 0 w 531"/>
                    <a:gd name="T3" fmla="*/ 2 h 288"/>
                    <a:gd name="T4" fmla="*/ 4 w 531"/>
                    <a:gd name="T5" fmla="*/ 2 h 288"/>
                    <a:gd name="T6" fmla="*/ 4 w 531"/>
                    <a:gd name="T7" fmla="*/ 1 h 288"/>
                    <a:gd name="T8" fmla="*/ 0 w 531"/>
                    <a:gd name="T9" fmla="*/ 0 h 288"/>
                    <a:gd name="T10" fmla="*/ 0 60000 65536"/>
                    <a:gd name="T11" fmla="*/ 0 60000 65536"/>
                    <a:gd name="T12" fmla="*/ 0 60000 65536"/>
                    <a:gd name="T13" fmla="*/ 0 60000 65536"/>
                    <a:gd name="T14" fmla="*/ 0 60000 65536"/>
                    <a:gd name="T15" fmla="*/ 0 w 531"/>
                    <a:gd name="T16" fmla="*/ 0 h 288"/>
                    <a:gd name="T17" fmla="*/ 531 w 531"/>
                    <a:gd name="T18" fmla="*/ 288 h 288"/>
                  </a:gdLst>
                  <a:ahLst/>
                  <a:cxnLst>
                    <a:cxn ang="T10">
                      <a:pos x="T0" y="T1"/>
                    </a:cxn>
                    <a:cxn ang="T11">
                      <a:pos x="T2" y="T3"/>
                    </a:cxn>
                    <a:cxn ang="T12">
                      <a:pos x="T4" y="T5"/>
                    </a:cxn>
                    <a:cxn ang="T13">
                      <a:pos x="T6" y="T7"/>
                    </a:cxn>
                    <a:cxn ang="T14">
                      <a:pos x="T8" y="T9"/>
                    </a:cxn>
                  </a:cxnLst>
                  <a:rect l="T15" t="T16" r="T17" b="T18"/>
                  <a:pathLst>
                    <a:path w="531" h="288">
                      <a:moveTo>
                        <a:pt x="0" y="0"/>
                      </a:moveTo>
                      <a:lnTo>
                        <a:pt x="23" y="242"/>
                      </a:lnTo>
                      <a:lnTo>
                        <a:pt x="531" y="288"/>
                      </a:lnTo>
                      <a:lnTo>
                        <a:pt x="531" y="82"/>
                      </a:lnTo>
                      <a:lnTo>
                        <a:pt x="0" y="0"/>
                      </a:lnTo>
                      <a:close/>
                    </a:path>
                  </a:pathLst>
                </a:custGeom>
                <a:solidFill>
                  <a:srgbClr val="808080"/>
                </a:solidFill>
                <a:ln w="0">
                  <a:noFill/>
                  <a:prstDash val="solid"/>
                  <a:round/>
                  <a:headEnd/>
                  <a:tailEnd/>
                </a:ln>
              </p:spPr>
              <p:txBody>
                <a:bodyPr/>
                <a:lstStyle/>
                <a:p>
                  <a:pPr fontAlgn="base">
                    <a:spcBef>
                      <a:spcPct val="0"/>
                    </a:spcBef>
                    <a:spcAft>
                      <a:spcPct val="0"/>
                    </a:spcAft>
                  </a:pPr>
                  <a:endParaRPr lang="en-US" sz="1400" b="1" dirty="0">
                    <a:solidFill>
                      <a:srgbClr val="000000"/>
                    </a:solidFill>
                  </a:endParaRPr>
                </a:p>
              </p:txBody>
            </p:sp>
            <p:sp>
              <p:nvSpPr>
                <p:cNvPr id="24646" name="Freeform 767"/>
                <p:cNvSpPr>
                  <a:spLocks/>
                </p:cNvSpPr>
                <p:nvPr/>
              </p:nvSpPr>
              <p:spPr bwMode="auto">
                <a:xfrm>
                  <a:off x="3485" y="2215"/>
                  <a:ext cx="81" cy="55"/>
                </a:xfrm>
                <a:custGeom>
                  <a:avLst/>
                  <a:gdLst>
                    <a:gd name="T0" fmla="*/ 0 w 402"/>
                    <a:gd name="T1" fmla="*/ 2 h 279"/>
                    <a:gd name="T2" fmla="*/ 0 w 402"/>
                    <a:gd name="T3" fmla="*/ 0 h 279"/>
                    <a:gd name="T4" fmla="*/ 3 w 402"/>
                    <a:gd name="T5" fmla="*/ 0 h 279"/>
                    <a:gd name="T6" fmla="*/ 3 w 402"/>
                    <a:gd name="T7" fmla="*/ 2 h 279"/>
                    <a:gd name="T8" fmla="*/ 0 w 402"/>
                    <a:gd name="T9" fmla="*/ 2 h 279"/>
                    <a:gd name="T10" fmla="*/ 0 60000 65536"/>
                    <a:gd name="T11" fmla="*/ 0 60000 65536"/>
                    <a:gd name="T12" fmla="*/ 0 60000 65536"/>
                    <a:gd name="T13" fmla="*/ 0 60000 65536"/>
                    <a:gd name="T14" fmla="*/ 0 60000 65536"/>
                    <a:gd name="T15" fmla="*/ 0 w 402"/>
                    <a:gd name="T16" fmla="*/ 0 h 279"/>
                    <a:gd name="T17" fmla="*/ 402 w 402"/>
                    <a:gd name="T18" fmla="*/ 279 h 279"/>
                  </a:gdLst>
                  <a:ahLst/>
                  <a:cxnLst>
                    <a:cxn ang="T10">
                      <a:pos x="T0" y="T1"/>
                    </a:cxn>
                    <a:cxn ang="T11">
                      <a:pos x="T2" y="T3"/>
                    </a:cxn>
                    <a:cxn ang="T12">
                      <a:pos x="T4" y="T5"/>
                    </a:cxn>
                    <a:cxn ang="T13">
                      <a:pos x="T6" y="T7"/>
                    </a:cxn>
                    <a:cxn ang="T14">
                      <a:pos x="T8" y="T9"/>
                    </a:cxn>
                  </a:cxnLst>
                  <a:rect l="T15" t="T16" r="T17" b="T18"/>
                  <a:pathLst>
                    <a:path w="402" h="279">
                      <a:moveTo>
                        <a:pt x="32" y="265"/>
                      </a:moveTo>
                      <a:lnTo>
                        <a:pt x="0" y="23"/>
                      </a:lnTo>
                      <a:lnTo>
                        <a:pt x="393" y="0"/>
                      </a:lnTo>
                      <a:lnTo>
                        <a:pt x="402" y="279"/>
                      </a:lnTo>
                      <a:lnTo>
                        <a:pt x="32" y="265"/>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47" name="Freeform 768"/>
                <p:cNvSpPr>
                  <a:spLocks/>
                </p:cNvSpPr>
                <p:nvPr/>
              </p:nvSpPr>
              <p:spPr bwMode="auto">
                <a:xfrm>
                  <a:off x="1506" y="2418"/>
                  <a:ext cx="172" cy="247"/>
                </a:xfrm>
                <a:custGeom>
                  <a:avLst/>
                  <a:gdLst>
                    <a:gd name="T0" fmla="*/ 0 w 863"/>
                    <a:gd name="T1" fmla="*/ 0 h 1235"/>
                    <a:gd name="T2" fmla="*/ 7 w 863"/>
                    <a:gd name="T3" fmla="*/ 0 h 1235"/>
                    <a:gd name="T4" fmla="*/ 7 w 863"/>
                    <a:gd name="T5" fmla="*/ 1 h 1235"/>
                    <a:gd name="T6" fmla="*/ 7 w 863"/>
                    <a:gd name="T7" fmla="*/ 2 h 1235"/>
                    <a:gd name="T8" fmla="*/ 7 w 863"/>
                    <a:gd name="T9" fmla="*/ 3 h 1235"/>
                    <a:gd name="T10" fmla="*/ 7 w 863"/>
                    <a:gd name="T11" fmla="*/ 5 h 1235"/>
                    <a:gd name="T12" fmla="*/ 6 w 863"/>
                    <a:gd name="T13" fmla="*/ 7 h 1235"/>
                    <a:gd name="T14" fmla="*/ 6 w 863"/>
                    <a:gd name="T15" fmla="*/ 8 h 1235"/>
                    <a:gd name="T16" fmla="*/ 5 w 863"/>
                    <a:gd name="T17" fmla="*/ 9 h 1235"/>
                    <a:gd name="T18" fmla="*/ 4 w 863"/>
                    <a:gd name="T19" fmla="*/ 10 h 1235"/>
                    <a:gd name="T20" fmla="*/ 3 w 863"/>
                    <a:gd name="T21" fmla="*/ 9 h 1235"/>
                    <a:gd name="T22" fmla="*/ 2 w 863"/>
                    <a:gd name="T23" fmla="*/ 8 h 1235"/>
                    <a:gd name="T24" fmla="*/ 1 w 863"/>
                    <a:gd name="T25" fmla="*/ 7 h 1235"/>
                    <a:gd name="T26" fmla="*/ 1 w 863"/>
                    <a:gd name="T27" fmla="*/ 5 h 1235"/>
                    <a:gd name="T28" fmla="*/ 1 w 863"/>
                    <a:gd name="T29" fmla="*/ 3 h 1235"/>
                    <a:gd name="T30" fmla="*/ 0 w 863"/>
                    <a:gd name="T31" fmla="*/ 2 h 1235"/>
                    <a:gd name="T32" fmla="*/ 0 w 863"/>
                    <a:gd name="T33" fmla="*/ 0 h 1235"/>
                    <a:gd name="T34" fmla="*/ 0 w 863"/>
                    <a:gd name="T35" fmla="*/ 0 h 1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63"/>
                    <a:gd name="T55" fmla="*/ 0 h 1235"/>
                    <a:gd name="T56" fmla="*/ 863 w 863"/>
                    <a:gd name="T57" fmla="*/ 1235 h 1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63" h="1235">
                      <a:moveTo>
                        <a:pt x="0" y="0"/>
                      </a:moveTo>
                      <a:lnTo>
                        <a:pt x="863" y="46"/>
                      </a:lnTo>
                      <a:lnTo>
                        <a:pt x="863" y="96"/>
                      </a:lnTo>
                      <a:lnTo>
                        <a:pt x="863" y="229"/>
                      </a:lnTo>
                      <a:lnTo>
                        <a:pt x="854" y="421"/>
                      </a:lnTo>
                      <a:lnTo>
                        <a:pt x="835" y="641"/>
                      </a:lnTo>
                      <a:lnTo>
                        <a:pt x="794" y="856"/>
                      </a:lnTo>
                      <a:lnTo>
                        <a:pt x="735" y="1047"/>
                      </a:lnTo>
                      <a:lnTo>
                        <a:pt x="648" y="1180"/>
                      </a:lnTo>
                      <a:lnTo>
                        <a:pt x="530" y="1235"/>
                      </a:lnTo>
                      <a:lnTo>
                        <a:pt x="392" y="1180"/>
                      </a:lnTo>
                      <a:lnTo>
                        <a:pt x="283" y="1038"/>
                      </a:lnTo>
                      <a:lnTo>
                        <a:pt x="187" y="842"/>
                      </a:lnTo>
                      <a:lnTo>
                        <a:pt x="118" y="618"/>
                      </a:lnTo>
                      <a:lnTo>
                        <a:pt x="63" y="389"/>
                      </a:lnTo>
                      <a:lnTo>
                        <a:pt x="26" y="193"/>
                      </a:lnTo>
                      <a:lnTo>
                        <a:pt x="4" y="50"/>
                      </a:lnTo>
                      <a:lnTo>
                        <a:pt x="0" y="0"/>
                      </a:lnTo>
                      <a:close/>
                    </a:path>
                  </a:pathLst>
                </a:custGeom>
                <a:solidFill>
                  <a:schemeClr val="bg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48" name="Freeform 769"/>
                <p:cNvSpPr>
                  <a:spLocks/>
                </p:cNvSpPr>
                <p:nvPr/>
              </p:nvSpPr>
              <p:spPr bwMode="auto">
                <a:xfrm>
                  <a:off x="3417" y="2317"/>
                  <a:ext cx="109" cy="23"/>
                </a:xfrm>
                <a:custGeom>
                  <a:avLst/>
                  <a:gdLst>
                    <a:gd name="T0" fmla="*/ 0 w 544"/>
                    <a:gd name="T1" fmla="*/ 0 h 115"/>
                    <a:gd name="T2" fmla="*/ 4 w 544"/>
                    <a:gd name="T3" fmla="*/ 0 h 115"/>
                    <a:gd name="T4" fmla="*/ 4 w 544"/>
                    <a:gd name="T5" fmla="*/ 1 h 115"/>
                    <a:gd name="T6" fmla="*/ 0 w 544"/>
                    <a:gd name="T7" fmla="*/ 1 h 115"/>
                    <a:gd name="T8" fmla="*/ 0 w 544"/>
                    <a:gd name="T9" fmla="*/ 0 h 115"/>
                    <a:gd name="T10" fmla="*/ 0 60000 65536"/>
                    <a:gd name="T11" fmla="*/ 0 60000 65536"/>
                    <a:gd name="T12" fmla="*/ 0 60000 65536"/>
                    <a:gd name="T13" fmla="*/ 0 60000 65536"/>
                    <a:gd name="T14" fmla="*/ 0 60000 65536"/>
                    <a:gd name="T15" fmla="*/ 0 w 544"/>
                    <a:gd name="T16" fmla="*/ 0 h 115"/>
                    <a:gd name="T17" fmla="*/ 544 w 544"/>
                    <a:gd name="T18" fmla="*/ 115 h 115"/>
                  </a:gdLst>
                  <a:ahLst/>
                  <a:cxnLst>
                    <a:cxn ang="T10">
                      <a:pos x="T0" y="T1"/>
                    </a:cxn>
                    <a:cxn ang="T11">
                      <a:pos x="T2" y="T3"/>
                    </a:cxn>
                    <a:cxn ang="T12">
                      <a:pos x="T4" y="T5"/>
                    </a:cxn>
                    <a:cxn ang="T13">
                      <a:pos x="T6" y="T7"/>
                    </a:cxn>
                    <a:cxn ang="T14">
                      <a:pos x="T8" y="T9"/>
                    </a:cxn>
                  </a:cxnLst>
                  <a:rect l="T15" t="T16" r="T17" b="T18"/>
                  <a:pathLst>
                    <a:path w="544" h="115">
                      <a:moveTo>
                        <a:pt x="0" y="23"/>
                      </a:moveTo>
                      <a:lnTo>
                        <a:pt x="544" y="0"/>
                      </a:lnTo>
                      <a:lnTo>
                        <a:pt x="522" y="115"/>
                      </a:lnTo>
                      <a:lnTo>
                        <a:pt x="14" y="115"/>
                      </a:lnTo>
                      <a:lnTo>
                        <a:pt x="0" y="23"/>
                      </a:lnTo>
                      <a:close/>
                    </a:path>
                  </a:pathLst>
                </a:custGeom>
                <a:solidFill>
                  <a:srgbClr val="808080"/>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49" name="Freeform 770"/>
                <p:cNvSpPr>
                  <a:spLocks/>
                </p:cNvSpPr>
                <p:nvPr/>
              </p:nvSpPr>
              <p:spPr bwMode="auto">
                <a:xfrm>
                  <a:off x="2076" y="2478"/>
                  <a:ext cx="37" cy="38"/>
                </a:xfrm>
                <a:custGeom>
                  <a:avLst/>
                  <a:gdLst>
                    <a:gd name="T0" fmla="*/ 1 w 187"/>
                    <a:gd name="T1" fmla="*/ 0 h 189"/>
                    <a:gd name="T2" fmla="*/ 1 w 187"/>
                    <a:gd name="T3" fmla="*/ 0 h 189"/>
                    <a:gd name="T4" fmla="*/ 1 w 187"/>
                    <a:gd name="T5" fmla="*/ 0 h 189"/>
                    <a:gd name="T6" fmla="*/ 1 w 187"/>
                    <a:gd name="T7" fmla="*/ 0 h 189"/>
                    <a:gd name="T8" fmla="*/ 1 w 187"/>
                    <a:gd name="T9" fmla="*/ 1 h 189"/>
                    <a:gd name="T10" fmla="*/ 1 w 187"/>
                    <a:gd name="T11" fmla="*/ 1 h 189"/>
                    <a:gd name="T12" fmla="*/ 1 w 187"/>
                    <a:gd name="T13" fmla="*/ 1 h 189"/>
                    <a:gd name="T14" fmla="*/ 1 w 187"/>
                    <a:gd name="T15" fmla="*/ 1 h 189"/>
                    <a:gd name="T16" fmla="*/ 1 w 187"/>
                    <a:gd name="T17" fmla="*/ 2 h 189"/>
                    <a:gd name="T18" fmla="*/ 0 w 187"/>
                    <a:gd name="T19" fmla="*/ 1 h 189"/>
                    <a:gd name="T20" fmla="*/ 0 w 187"/>
                    <a:gd name="T21" fmla="*/ 1 h 189"/>
                    <a:gd name="T22" fmla="*/ 0 w 187"/>
                    <a:gd name="T23" fmla="*/ 1 h 189"/>
                    <a:gd name="T24" fmla="*/ 0 w 187"/>
                    <a:gd name="T25" fmla="*/ 1 h 189"/>
                    <a:gd name="T26" fmla="*/ 0 w 187"/>
                    <a:gd name="T27" fmla="*/ 0 h 189"/>
                    <a:gd name="T28" fmla="*/ 0 w 187"/>
                    <a:gd name="T29" fmla="*/ 0 h 189"/>
                    <a:gd name="T30" fmla="*/ 0 w 187"/>
                    <a:gd name="T31" fmla="*/ 0 h 189"/>
                    <a:gd name="T32" fmla="*/ 1 w 187"/>
                    <a:gd name="T33" fmla="*/ 0 h 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7"/>
                    <a:gd name="T52" fmla="*/ 0 h 189"/>
                    <a:gd name="T53" fmla="*/ 187 w 187"/>
                    <a:gd name="T54" fmla="*/ 189 h 18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7" h="189">
                      <a:moveTo>
                        <a:pt x="91" y="0"/>
                      </a:moveTo>
                      <a:lnTo>
                        <a:pt x="123" y="6"/>
                      </a:lnTo>
                      <a:lnTo>
                        <a:pt x="155" y="28"/>
                      </a:lnTo>
                      <a:lnTo>
                        <a:pt x="178" y="60"/>
                      </a:lnTo>
                      <a:lnTo>
                        <a:pt x="187" y="97"/>
                      </a:lnTo>
                      <a:lnTo>
                        <a:pt x="178" y="129"/>
                      </a:lnTo>
                      <a:lnTo>
                        <a:pt x="155" y="157"/>
                      </a:lnTo>
                      <a:lnTo>
                        <a:pt x="123" y="179"/>
                      </a:lnTo>
                      <a:lnTo>
                        <a:pt x="91" y="189"/>
                      </a:lnTo>
                      <a:lnTo>
                        <a:pt x="51" y="179"/>
                      </a:lnTo>
                      <a:lnTo>
                        <a:pt x="23" y="157"/>
                      </a:lnTo>
                      <a:lnTo>
                        <a:pt x="5" y="129"/>
                      </a:lnTo>
                      <a:lnTo>
                        <a:pt x="0" y="97"/>
                      </a:lnTo>
                      <a:lnTo>
                        <a:pt x="5" y="60"/>
                      </a:lnTo>
                      <a:lnTo>
                        <a:pt x="23" y="28"/>
                      </a:lnTo>
                      <a:lnTo>
                        <a:pt x="51" y="6"/>
                      </a:lnTo>
                      <a:lnTo>
                        <a:pt x="91"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50" name="Freeform 771"/>
                <p:cNvSpPr>
                  <a:spLocks/>
                </p:cNvSpPr>
                <p:nvPr/>
              </p:nvSpPr>
              <p:spPr bwMode="auto">
                <a:xfrm>
                  <a:off x="2441" y="2506"/>
                  <a:ext cx="34" cy="35"/>
                </a:xfrm>
                <a:custGeom>
                  <a:avLst/>
                  <a:gdLst>
                    <a:gd name="T0" fmla="*/ 1 w 173"/>
                    <a:gd name="T1" fmla="*/ 0 h 173"/>
                    <a:gd name="T2" fmla="*/ 1 w 173"/>
                    <a:gd name="T3" fmla="*/ 0 h 173"/>
                    <a:gd name="T4" fmla="*/ 1 w 173"/>
                    <a:gd name="T5" fmla="*/ 0 h 173"/>
                    <a:gd name="T6" fmla="*/ 1 w 173"/>
                    <a:gd name="T7" fmla="*/ 0 h 173"/>
                    <a:gd name="T8" fmla="*/ 1 w 173"/>
                    <a:gd name="T9" fmla="*/ 1 h 173"/>
                    <a:gd name="T10" fmla="*/ 1 w 173"/>
                    <a:gd name="T11" fmla="*/ 1 h 173"/>
                    <a:gd name="T12" fmla="*/ 1 w 173"/>
                    <a:gd name="T13" fmla="*/ 1 h 173"/>
                    <a:gd name="T14" fmla="*/ 1 w 173"/>
                    <a:gd name="T15" fmla="*/ 1 h 173"/>
                    <a:gd name="T16" fmla="*/ 1 w 173"/>
                    <a:gd name="T17" fmla="*/ 1 h 173"/>
                    <a:gd name="T18" fmla="*/ 0 w 173"/>
                    <a:gd name="T19" fmla="*/ 1 h 173"/>
                    <a:gd name="T20" fmla="*/ 0 w 173"/>
                    <a:gd name="T21" fmla="*/ 1 h 173"/>
                    <a:gd name="T22" fmla="*/ 0 w 173"/>
                    <a:gd name="T23" fmla="*/ 1 h 173"/>
                    <a:gd name="T24" fmla="*/ 0 w 173"/>
                    <a:gd name="T25" fmla="*/ 1 h 173"/>
                    <a:gd name="T26" fmla="*/ 0 w 173"/>
                    <a:gd name="T27" fmla="*/ 0 h 173"/>
                    <a:gd name="T28" fmla="*/ 0 w 173"/>
                    <a:gd name="T29" fmla="*/ 0 h 173"/>
                    <a:gd name="T30" fmla="*/ 0 w 173"/>
                    <a:gd name="T31" fmla="*/ 0 h 173"/>
                    <a:gd name="T32" fmla="*/ 1 w 173"/>
                    <a:gd name="T33" fmla="*/ 0 h 1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3"/>
                    <a:gd name="T52" fmla="*/ 0 h 173"/>
                    <a:gd name="T53" fmla="*/ 173 w 173"/>
                    <a:gd name="T54" fmla="*/ 173 h 1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3" h="173">
                      <a:moveTo>
                        <a:pt x="95" y="0"/>
                      </a:moveTo>
                      <a:lnTo>
                        <a:pt x="123" y="4"/>
                      </a:lnTo>
                      <a:lnTo>
                        <a:pt x="150" y="26"/>
                      </a:lnTo>
                      <a:lnTo>
                        <a:pt x="164" y="54"/>
                      </a:lnTo>
                      <a:lnTo>
                        <a:pt x="173" y="90"/>
                      </a:lnTo>
                      <a:lnTo>
                        <a:pt x="164" y="118"/>
                      </a:lnTo>
                      <a:lnTo>
                        <a:pt x="150" y="146"/>
                      </a:lnTo>
                      <a:lnTo>
                        <a:pt x="123" y="164"/>
                      </a:lnTo>
                      <a:lnTo>
                        <a:pt x="95" y="173"/>
                      </a:lnTo>
                      <a:lnTo>
                        <a:pt x="58" y="164"/>
                      </a:lnTo>
                      <a:lnTo>
                        <a:pt x="26" y="146"/>
                      </a:lnTo>
                      <a:lnTo>
                        <a:pt x="4" y="118"/>
                      </a:lnTo>
                      <a:lnTo>
                        <a:pt x="0" y="90"/>
                      </a:lnTo>
                      <a:lnTo>
                        <a:pt x="4" y="54"/>
                      </a:lnTo>
                      <a:lnTo>
                        <a:pt x="26" y="26"/>
                      </a:lnTo>
                      <a:lnTo>
                        <a:pt x="58" y="4"/>
                      </a:lnTo>
                      <a:lnTo>
                        <a:pt x="95"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51" name="Freeform 772"/>
                <p:cNvSpPr>
                  <a:spLocks/>
                </p:cNvSpPr>
                <p:nvPr/>
              </p:nvSpPr>
              <p:spPr bwMode="auto">
                <a:xfrm>
                  <a:off x="2702" y="2527"/>
                  <a:ext cx="32" cy="32"/>
                </a:xfrm>
                <a:custGeom>
                  <a:avLst/>
                  <a:gdLst>
                    <a:gd name="T0" fmla="*/ 1 w 159"/>
                    <a:gd name="T1" fmla="*/ 0 h 161"/>
                    <a:gd name="T2" fmla="*/ 1 w 159"/>
                    <a:gd name="T3" fmla="*/ 0 h 161"/>
                    <a:gd name="T4" fmla="*/ 1 w 159"/>
                    <a:gd name="T5" fmla="*/ 0 h 161"/>
                    <a:gd name="T6" fmla="*/ 1 w 159"/>
                    <a:gd name="T7" fmla="*/ 0 h 161"/>
                    <a:gd name="T8" fmla="*/ 1 w 159"/>
                    <a:gd name="T9" fmla="*/ 1 h 161"/>
                    <a:gd name="T10" fmla="*/ 1 w 159"/>
                    <a:gd name="T11" fmla="*/ 1 h 161"/>
                    <a:gd name="T12" fmla="*/ 1 w 159"/>
                    <a:gd name="T13" fmla="*/ 1 h 161"/>
                    <a:gd name="T14" fmla="*/ 1 w 159"/>
                    <a:gd name="T15" fmla="*/ 1 h 161"/>
                    <a:gd name="T16" fmla="*/ 1 w 159"/>
                    <a:gd name="T17" fmla="*/ 1 h 161"/>
                    <a:gd name="T18" fmla="*/ 0 w 159"/>
                    <a:gd name="T19" fmla="*/ 1 h 161"/>
                    <a:gd name="T20" fmla="*/ 0 w 159"/>
                    <a:gd name="T21" fmla="*/ 1 h 161"/>
                    <a:gd name="T22" fmla="*/ 0 w 159"/>
                    <a:gd name="T23" fmla="*/ 1 h 161"/>
                    <a:gd name="T24" fmla="*/ 0 w 159"/>
                    <a:gd name="T25" fmla="*/ 1 h 161"/>
                    <a:gd name="T26" fmla="*/ 0 w 159"/>
                    <a:gd name="T27" fmla="*/ 0 h 161"/>
                    <a:gd name="T28" fmla="*/ 0 w 159"/>
                    <a:gd name="T29" fmla="*/ 0 h 161"/>
                    <a:gd name="T30" fmla="*/ 0 w 159"/>
                    <a:gd name="T31" fmla="*/ 0 h 161"/>
                    <a:gd name="T32" fmla="*/ 1 w 159"/>
                    <a:gd name="T33" fmla="*/ 0 h 1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9"/>
                    <a:gd name="T52" fmla="*/ 0 h 161"/>
                    <a:gd name="T53" fmla="*/ 159 w 159"/>
                    <a:gd name="T54" fmla="*/ 161 h 1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9" h="161">
                      <a:moveTo>
                        <a:pt x="81" y="0"/>
                      </a:moveTo>
                      <a:lnTo>
                        <a:pt x="109" y="0"/>
                      </a:lnTo>
                      <a:lnTo>
                        <a:pt x="137" y="19"/>
                      </a:lnTo>
                      <a:lnTo>
                        <a:pt x="151" y="42"/>
                      </a:lnTo>
                      <a:lnTo>
                        <a:pt x="159" y="78"/>
                      </a:lnTo>
                      <a:lnTo>
                        <a:pt x="151" y="105"/>
                      </a:lnTo>
                      <a:lnTo>
                        <a:pt x="137" y="133"/>
                      </a:lnTo>
                      <a:lnTo>
                        <a:pt x="109" y="151"/>
                      </a:lnTo>
                      <a:lnTo>
                        <a:pt x="81" y="161"/>
                      </a:lnTo>
                      <a:lnTo>
                        <a:pt x="45" y="151"/>
                      </a:lnTo>
                      <a:lnTo>
                        <a:pt x="22" y="133"/>
                      </a:lnTo>
                      <a:lnTo>
                        <a:pt x="4" y="105"/>
                      </a:lnTo>
                      <a:lnTo>
                        <a:pt x="0" y="78"/>
                      </a:lnTo>
                      <a:lnTo>
                        <a:pt x="4" y="42"/>
                      </a:lnTo>
                      <a:lnTo>
                        <a:pt x="22" y="19"/>
                      </a:lnTo>
                      <a:lnTo>
                        <a:pt x="45" y="0"/>
                      </a:lnTo>
                      <a:lnTo>
                        <a:pt x="81"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52" name="Freeform 773"/>
                <p:cNvSpPr>
                  <a:spLocks/>
                </p:cNvSpPr>
                <p:nvPr/>
              </p:nvSpPr>
              <p:spPr bwMode="auto">
                <a:xfrm>
                  <a:off x="2903" y="2543"/>
                  <a:ext cx="32" cy="30"/>
                </a:xfrm>
                <a:custGeom>
                  <a:avLst/>
                  <a:gdLst>
                    <a:gd name="T0" fmla="*/ 1 w 160"/>
                    <a:gd name="T1" fmla="*/ 0 h 151"/>
                    <a:gd name="T2" fmla="*/ 1 w 160"/>
                    <a:gd name="T3" fmla="*/ 0 h 151"/>
                    <a:gd name="T4" fmla="*/ 1 w 160"/>
                    <a:gd name="T5" fmla="*/ 0 h 151"/>
                    <a:gd name="T6" fmla="*/ 1 w 160"/>
                    <a:gd name="T7" fmla="*/ 0 h 151"/>
                    <a:gd name="T8" fmla="*/ 1 w 160"/>
                    <a:gd name="T9" fmla="*/ 1 h 151"/>
                    <a:gd name="T10" fmla="*/ 1 w 160"/>
                    <a:gd name="T11" fmla="*/ 1 h 151"/>
                    <a:gd name="T12" fmla="*/ 1 w 160"/>
                    <a:gd name="T13" fmla="*/ 1 h 151"/>
                    <a:gd name="T14" fmla="*/ 1 w 160"/>
                    <a:gd name="T15" fmla="*/ 1 h 151"/>
                    <a:gd name="T16" fmla="*/ 1 w 160"/>
                    <a:gd name="T17" fmla="*/ 1 h 151"/>
                    <a:gd name="T18" fmla="*/ 0 w 160"/>
                    <a:gd name="T19" fmla="*/ 1 h 151"/>
                    <a:gd name="T20" fmla="*/ 0 w 160"/>
                    <a:gd name="T21" fmla="*/ 1 h 151"/>
                    <a:gd name="T22" fmla="*/ 0 w 160"/>
                    <a:gd name="T23" fmla="*/ 1 h 151"/>
                    <a:gd name="T24" fmla="*/ 0 w 160"/>
                    <a:gd name="T25" fmla="*/ 1 h 151"/>
                    <a:gd name="T26" fmla="*/ 0 w 160"/>
                    <a:gd name="T27" fmla="*/ 0 h 151"/>
                    <a:gd name="T28" fmla="*/ 0 w 160"/>
                    <a:gd name="T29" fmla="*/ 0 h 151"/>
                    <a:gd name="T30" fmla="*/ 0 w 160"/>
                    <a:gd name="T31" fmla="*/ 0 h 151"/>
                    <a:gd name="T32" fmla="*/ 1 w 160"/>
                    <a:gd name="T33" fmla="*/ 0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0"/>
                    <a:gd name="T52" fmla="*/ 0 h 151"/>
                    <a:gd name="T53" fmla="*/ 160 w 160"/>
                    <a:gd name="T54" fmla="*/ 151 h 1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0" h="151">
                      <a:moveTo>
                        <a:pt x="82" y="0"/>
                      </a:moveTo>
                      <a:lnTo>
                        <a:pt x="105" y="5"/>
                      </a:lnTo>
                      <a:lnTo>
                        <a:pt x="132" y="19"/>
                      </a:lnTo>
                      <a:lnTo>
                        <a:pt x="150" y="41"/>
                      </a:lnTo>
                      <a:lnTo>
                        <a:pt x="160" y="69"/>
                      </a:lnTo>
                      <a:lnTo>
                        <a:pt x="150" y="97"/>
                      </a:lnTo>
                      <a:lnTo>
                        <a:pt x="132" y="123"/>
                      </a:lnTo>
                      <a:lnTo>
                        <a:pt x="105" y="142"/>
                      </a:lnTo>
                      <a:lnTo>
                        <a:pt x="82" y="151"/>
                      </a:lnTo>
                      <a:lnTo>
                        <a:pt x="45" y="142"/>
                      </a:lnTo>
                      <a:lnTo>
                        <a:pt x="18" y="123"/>
                      </a:lnTo>
                      <a:lnTo>
                        <a:pt x="0" y="97"/>
                      </a:lnTo>
                      <a:lnTo>
                        <a:pt x="0" y="69"/>
                      </a:lnTo>
                      <a:lnTo>
                        <a:pt x="0" y="41"/>
                      </a:lnTo>
                      <a:lnTo>
                        <a:pt x="18" y="19"/>
                      </a:lnTo>
                      <a:lnTo>
                        <a:pt x="45" y="5"/>
                      </a:lnTo>
                      <a:lnTo>
                        <a:pt x="82"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53" name="Freeform 774"/>
                <p:cNvSpPr>
                  <a:spLocks/>
                </p:cNvSpPr>
                <p:nvPr/>
              </p:nvSpPr>
              <p:spPr bwMode="auto">
                <a:xfrm>
                  <a:off x="3069" y="2555"/>
                  <a:ext cx="28" cy="30"/>
                </a:xfrm>
                <a:custGeom>
                  <a:avLst/>
                  <a:gdLst>
                    <a:gd name="T0" fmla="*/ 1 w 138"/>
                    <a:gd name="T1" fmla="*/ 0 h 151"/>
                    <a:gd name="T2" fmla="*/ 1 w 138"/>
                    <a:gd name="T3" fmla="*/ 0 h 151"/>
                    <a:gd name="T4" fmla="*/ 1 w 138"/>
                    <a:gd name="T5" fmla="*/ 0 h 151"/>
                    <a:gd name="T6" fmla="*/ 1 w 138"/>
                    <a:gd name="T7" fmla="*/ 0 h 151"/>
                    <a:gd name="T8" fmla="*/ 1 w 138"/>
                    <a:gd name="T9" fmla="*/ 1 h 151"/>
                    <a:gd name="T10" fmla="*/ 1 w 138"/>
                    <a:gd name="T11" fmla="*/ 1 h 151"/>
                    <a:gd name="T12" fmla="*/ 1 w 138"/>
                    <a:gd name="T13" fmla="*/ 1 h 151"/>
                    <a:gd name="T14" fmla="*/ 1 w 138"/>
                    <a:gd name="T15" fmla="*/ 1 h 151"/>
                    <a:gd name="T16" fmla="*/ 1 w 138"/>
                    <a:gd name="T17" fmla="*/ 1 h 151"/>
                    <a:gd name="T18" fmla="*/ 0 w 138"/>
                    <a:gd name="T19" fmla="*/ 1 h 151"/>
                    <a:gd name="T20" fmla="*/ 0 w 138"/>
                    <a:gd name="T21" fmla="*/ 1 h 151"/>
                    <a:gd name="T22" fmla="*/ 0 w 138"/>
                    <a:gd name="T23" fmla="*/ 1 h 151"/>
                    <a:gd name="T24" fmla="*/ 0 w 138"/>
                    <a:gd name="T25" fmla="*/ 1 h 151"/>
                    <a:gd name="T26" fmla="*/ 0 w 138"/>
                    <a:gd name="T27" fmla="*/ 0 h 151"/>
                    <a:gd name="T28" fmla="*/ 0 w 138"/>
                    <a:gd name="T29" fmla="*/ 0 h 151"/>
                    <a:gd name="T30" fmla="*/ 0 w 138"/>
                    <a:gd name="T31" fmla="*/ 0 h 151"/>
                    <a:gd name="T32" fmla="*/ 1 w 138"/>
                    <a:gd name="T33" fmla="*/ 0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8"/>
                    <a:gd name="T52" fmla="*/ 0 h 151"/>
                    <a:gd name="T53" fmla="*/ 138 w 138"/>
                    <a:gd name="T54" fmla="*/ 151 h 1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8" h="151">
                      <a:moveTo>
                        <a:pt x="70" y="0"/>
                      </a:moveTo>
                      <a:lnTo>
                        <a:pt x="92" y="0"/>
                      </a:lnTo>
                      <a:lnTo>
                        <a:pt x="114" y="18"/>
                      </a:lnTo>
                      <a:lnTo>
                        <a:pt x="128" y="46"/>
                      </a:lnTo>
                      <a:lnTo>
                        <a:pt x="138" y="83"/>
                      </a:lnTo>
                      <a:lnTo>
                        <a:pt x="128" y="106"/>
                      </a:lnTo>
                      <a:lnTo>
                        <a:pt x="114" y="129"/>
                      </a:lnTo>
                      <a:lnTo>
                        <a:pt x="92" y="142"/>
                      </a:lnTo>
                      <a:lnTo>
                        <a:pt x="70" y="151"/>
                      </a:lnTo>
                      <a:lnTo>
                        <a:pt x="42" y="142"/>
                      </a:lnTo>
                      <a:lnTo>
                        <a:pt x="18" y="129"/>
                      </a:lnTo>
                      <a:lnTo>
                        <a:pt x="0" y="106"/>
                      </a:lnTo>
                      <a:lnTo>
                        <a:pt x="0" y="83"/>
                      </a:lnTo>
                      <a:lnTo>
                        <a:pt x="0" y="46"/>
                      </a:lnTo>
                      <a:lnTo>
                        <a:pt x="18" y="18"/>
                      </a:lnTo>
                      <a:lnTo>
                        <a:pt x="42" y="0"/>
                      </a:lnTo>
                      <a:lnTo>
                        <a:pt x="70"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sp>
              <p:nvSpPr>
                <p:cNvPr id="24654" name="Freeform 775"/>
                <p:cNvSpPr>
                  <a:spLocks/>
                </p:cNvSpPr>
                <p:nvPr/>
              </p:nvSpPr>
              <p:spPr bwMode="auto">
                <a:xfrm>
                  <a:off x="3207" y="2566"/>
                  <a:ext cx="29" cy="28"/>
                </a:xfrm>
                <a:custGeom>
                  <a:avLst/>
                  <a:gdLst>
                    <a:gd name="T0" fmla="*/ 1 w 142"/>
                    <a:gd name="T1" fmla="*/ 0 h 141"/>
                    <a:gd name="T2" fmla="*/ 1 w 142"/>
                    <a:gd name="T3" fmla="*/ 0 h 141"/>
                    <a:gd name="T4" fmla="*/ 1 w 142"/>
                    <a:gd name="T5" fmla="*/ 0 h 141"/>
                    <a:gd name="T6" fmla="*/ 1 w 142"/>
                    <a:gd name="T7" fmla="*/ 0 h 141"/>
                    <a:gd name="T8" fmla="*/ 1 w 142"/>
                    <a:gd name="T9" fmla="*/ 1 h 141"/>
                    <a:gd name="T10" fmla="*/ 1 w 142"/>
                    <a:gd name="T11" fmla="*/ 1 h 141"/>
                    <a:gd name="T12" fmla="*/ 1 w 142"/>
                    <a:gd name="T13" fmla="*/ 1 h 141"/>
                    <a:gd name="T14" fmla="*/ 1 w 142"/>
                    <a:gd name="T15" fmla="*/ 1 h 141"/>
                    <a:gd name="T16" fmla="*/ 1 w 142"/>
                    <a:gd name="T17" fmla="*/ 1 h 141"/>
                    <a:gd name="T18" fmla="*/ 0 w 142"/>
                    <a:gd name="T19" fmla="*/ 1 h 141"/>
                    <a:gd name="T20" fmla="*/ 0 w 142"/>
                    <a:gd name="T21" fmla="*/ 1 h 141"/>
                    <a:gd name="T22" fmla="*/ 0 w 142"/>
                    <a:gd name="T23" fmla="*/ 1 h 141"/>
                    <a:gd name="T24" fmla="*/ 0 w 142"/>
                    <a:gd name="T25" fmla="*/ 1 h 141"/>
                    <a:gd name="T26" fmla="*/ 0 w 142"/>
                    <a:gd name="T27" fmla="*/ 0 h 141"/>
                    <a:gd name="T28" fmla="*/ 0 w 142"/>
                    <a:gd name="T29" fmla="*/ 0 h 141"/>
                    <a:gd name="T30" fmla="*/ 0 w 142"/>
                    <a:gd name="T31" fmla="*/ 0 h 141"/>
                    <a:gd name="T32" fmla="*/ 1 w 142"/>
                    <a:gd name="T33" fmla="*/ 0 h 1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2"/>
                    <a:gd name="T52" fmla="*/ 0 h 141"/>
                    <a:gd name="T53" fmla="*/ 142 w 142"/>
                    <a:gd name="T54" fmla="*/ 141 h 1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2" h="141">
                      <a:moveTo>
                        <a:pt x="72" y="0"/>
                      </a:moveTo>
                      <a:lnTo>
                        <a:pt x="100" y="4"/>
                      </a:lnTo>
                      <a:lnTo>
                        <a:pt x="122" y="22"/>
                      </a:lnTo>
                      <a:lnTo>
                        <a:pt x="132" y="45"/>
                      </a:lnTo>
                      <a:lnTo>
                        <a:pt x="142" y="73"/>
                      </a:lnTo>
                      <a:lnTo>
                        <a:pt x="132" y="95"/>
                      </a:lnTo>
                      <a:lnTo>
                        <a:pt x="122" y="119"/>
                      </a:lnTo>
                      <a:lnTo>
                        <a:pt x="100" y="132"/>
                      </a:lnTo>
                      <a:lnTo>
                        <a:pt x="72" y="141"/>
                      </a:lnTo>
                      <a:lnTo>
                        <a:pt x="45" y="132"/>
                      </a:lnTo>
                      <a:lnTo>
                        <a:pt x="22" y="119"/>
                      </a:lnTo>
                      <a:lnTo>
                        <a:pt x="4" y="95"/>
                      </a:lnTo>
                      <a:lnTo>
                        <a:pt x="0" y="73"/>
                      </a:lnTo>
                      <a:lnTo>
                        <a:pt x="4" y="45"/>
                      </a:lnTo>
                      <a:lnTo>
                        <a:pt x="22" y="22"/>
                      </a:lnTo>
                      <a:lnTo>
                        <a:pt x="45" y="4"/>
                      </a:lnTo>
                      <a:lnTo>
                        <a:pt x="72" y="0"/>
                      </a:lnTo>
                      <a:close/>
                    </a:path>
                  </a:pathLst>
                </a:custGeom>
                <a:solidFill>
                  <a:schemeClr val="tx1"/>
                </a:solidFill>
                <a:ln w="9525">
                  <a:noFill/>
                  <a:round/>
                  <a:headEnd/>
                  <a:tailEnd/>
                </a:ln>
              </p:spPr>
              <p:txBody>
                <a:bodyPr/>
                <a:lstStyle/>
                <a:p>
                  <a:pPr fontAlgn="base">
                    <a:spcBef>
                      <a:spcPct val="0"/>
                    </a:spcBef>
                    <a:spcAft>
                      <a:spcPct val="0"/>
                    </a:spcAft>
                  </a:pPr>
                  <a:endParaRPr lang="en-US" sz="1400" b="1" dirty="0">
                    <a:solidFill>
                      <a:srgbClr val="000000"/>
                    </a:solidFill>
                  </a:endParaRPr>
                </a:p>
              </p:txBody>
            </p:sp>
          </p:grpSp>
          <p:sp>
            <p:nvSpPr>
              <p:cNvPr id="24621" name="Oval 776"/>
              <p:cNvSpPr>
                <a:spLocks noChangeArrowheads="1"/>
              </p:cNvSpPr>
              <p:nvPr/>
            </p:nvSpPr>
            <p:spPr bwMode="auto">
              <a:xfrm>
                <a:off x="3235" y="3927"/>
                <a:ext cx="38" cy="41"/>
              </a:xfrm>
              <a:prstGeom prst="ellipse">
                <a:avLst/>
              </a:prstGeom>
              <a:solidFill>
                <a:srgbClr val="808080"/>
              </a:solidFill>
              <a:ln w="9525">
                <a:noFill/>
                <a:round/>
                <a:headEnd/>
                <a:tailEnd/>
              </a:ln>
            </p:spPr>
            <p:txBody>
              <a:bodyPr wrap="none" anchor="ctr"/>
              <a:lstStyle/>
              <a:p>
                <a:pPr algn="ctr" fontAlgn="base">
                  <a:spcBef>
                    <a:spcPct val="0"/>
                  </a:spcBef>
                  <a:spcAft>
                    <a:spcPct val="0"/>
                  </a:spcAft>
                </a:pPr>
                <a:endParaRPr lang="en-US" dirty="0">
                  <a:solidFill>
                    <a:srgbClr val="000000"/>
                  </a:solidFill>
                </a:endParaRPr>
              </a:p>
            </p:txBody>
          </p:sp>
        </p:grpSp>
        <p:sp>
          <p:nvSpPr>
            <p:cNvPr id="777" name="Rectangle 13"/>
            <p:cNvSpPr>
              <a:spLocks noChangeArrowheads="1"/>
            </p:cNvSpPr>
            <p:nvPr>
              <p:custDataLst>
                <p:tags r:id="rId58"/>
              </p:custDataLst>
            </p:nvPr>
          </p:nvSpPr>
          <p:spPr bwMode="gray">
            <a:xfrm>
              <a:off x="747906" y="1124744"/>
              <a:ext cx="1923684" cy="220701"/>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Previous port to Pilot</a:t>
              </a:r>
            </a:p>
          </p:txBody>
        </p:sp>
        <p:sp>
          <p:nvSpPr>
            <p:cNvPr id="778" name="Oval 14"/>
            <p:cNvSpPr>
              <a:spLocks noChangeArrowheads="1"/>
            </p:cNvSpPr>
            <p:nvPr>
              <p:custDataLst>
                <p:tags r:id="rId59"/>
              </p:custDataLst>
            </p:nvPr>
          </p:nvSpPr>
          <p:spPr bwMode="gray">
            <a:xfrm>
              <a:off x="368482" y="1194030"/>
              <a:ext cx="261937" cy="260350"/>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A</a:t>
              </a:r>
            </a:p>
          </p:txBody>
        </p:sp>
        <p:sp>
          <p:nvSpPr>
            <p:cNvPr id="779" name="Rectangle 13"/>
            <p:cNvSpPr>
              <a:spLocks noChangeArrowheads="1"/>
            </p:cNvSpPr>
            <p:nvPr>
              <p:custDataLst>
                <p:tags r:id="rId60"/>
              </p:custDataLst>
            </p:nvPr>
          </p:nvSpPr>
          <p:spPr bwMode="gray">
            <a:xfrm>
              <a:off x="745033" y="5968389"/>
              <a:ext cx="1551585" cy="220701"/>
            </a:xfrm>
            <a:prstGeom prst="rect">
              <a:avLst/>
            </a:prstGeom>
            <a:noFill/>
            <a:ln w="9525">
              <a:noFill/>
              <a:miter lim="800000"/>
              <a:headEnd/>
              <a:tailEnd/>
            </a:ln>
          </p:spPr>
          <p:txBody>
            <a:bodyPr wrap="none" lIns="0" tIns="0" rIns="0" bIns="0">
              <a:spAutoFit/>
            </a:bodyPr>
            <a:lstStyle/>
            <a:p>
              <a:pPr marL="342900" indent="-342900" algn="ctr" defTabSz="912813" eaLnBrk="0" fontAlgn="base" hangingPunct="0">
                <a:spcBef>
                  <a:spcPct val="0"/>
                </a:spcBef>
                <a:spcAft>
                  <a:spcPct val="0"/>
                </a:spcAft>
                <a:buClr>
                  <a:srgbClr val="000000"/>
                </a:buClr>
              </a:pPr>
              <a:r>
                <a:rPr lang="en-US" sz="1300" dirty="0">
                  <a:solidFill>
                    <a:srgbClr val="69B8D6"/>
                  </a:solidFill>
                </a:rPr>
                <a:t>Pilot to next port</a:t>
              </a:r>
            </a:p>
          </p:txBody>
        </p:sp>
        <p:sp>
          <p:nvSpPr>
            <p:cNvPr id="780" name="Oval 14"/>
            <p:cNvSpPr>
              <a:spLocks noChangeArrowheads="1"/>
            </p:cNvSpPr>
            <p:nvPr>
              <p:custDataLst>
                <p:tags r:id="rId61"/>
              </p:custDataLst>
            </p:nvPr>
          </p:nvSpPr>
          <p:spPr bwMode="gray">
            <a:xfrm>
              <a:off x="368482" y="5826078"/>
              <a:ext cx="261937" cy="260350"/>
            </a:xfrm>
            <a:prstGeom prst="ellipse">
              <a:avLst/>
            </a:prstGeom>
            <a:solidFill>
              <a:schemeClr val="accent2"/>
            </a:solidFill>
            <a:ln w="19050">
              <a:solidFill>
                <a:schemeClr val="bg1"/>
              </a:solidFill>
              <a:round/>
              <a:headEnd/>
              <a:tailEnd/>
            </a:ln>
          </p:spPr>
          <p:txBody>
            <a:bodyPr wrap="none" lIns="91420" tIns="45710" rIns="91420" bIns="45710" anchor="ctr"/>
            <a:lstStyle/>
            <a:p>
              <a:pPr algn="ctr" defTabSz="933450" fontAlgn="base">
                <a:spcBef>
                  <a:spcPct val="0"/>
                </a:spcBef>
                <a:spcAft>
                  <a:spcPct val="0"/>
                </a:spcAft>
              </a:pPr>
              <a:r>
                <a:rPr lang="en-US" sz="1400" dirty="0">
                  <a:solidFill>
                    <a:srgbClr val="FFFFFF"/>
                  </a:solidFill>
                </a:rPr>
                <a:t>B</a:t>
              </a:r>
            </a:p>
          </p:txBody>
        </p:sp>
      </p:grpSp>
      <p:grpSp>
        <p:nvGrpSpPr>
          <p:cNvPr id="289" name="Group 288"/>
          <p:cNvGrpSpPr/>
          <p:nvPr/>
        </p:nvGrpSpPr>
        <p:grpSpPr>
          <a:xfrm>
            <a:off x="6839211" y="1814257"/>
            <a:ext cx="3221713" cy="2951690"/>
            <a:chOff x="4322359" y="1371906"/>
            <a:chExt cx="4128046" cy="3498402"/>
          </a:xfrm>
        </p:grpSpPr>
        <p:grpSp>
          <p:nvGrpSpPr>
            <p:cNvPr id="23" name="Group 264"/>
            <p:cNvGrpSpPr>
              <a:grpSpLocks/>
            </p:cNvGrpSpPr>
            <p:nvPr>
              <p:custDataLst>
                <p:tags r:id="rId11"/>
              </p:custDataLst>
            </p:nvPr>
          </p:nvGrpSpPr>
          <p:grpSpPr bwMode="auto">
            <a:xfrm>
              <a:off x="4322359" y="1371906"/>
              <a:ext cx="4022725" cy="222250"/>
              <a:chOff x="1536" y="971"/>
              <a:chExt cx="2686" cy="140"/>
            </a:xfrm>
          </p:grpSpPr>
          <p:cxnSp>
            <p:nvCxnSpPr>
              <p:cNvPr id="827" name="AutoShape 301"/>
              <p:cNvCxnSpPr>
                <a:cxnSpLocks noChangeShapeType="1"/>
                <a:stCxn id="828" idx="4"/>
                <a:endCxn id="828" idx="6"/>
              </p:cNvCxnSpPr>
              <p:nvPr/>
            </p:nvCxnSpPr>
            <p:spPr bwMode="gray">
              <a:xfrm>
                <a:off x="1536" y="1111"/>
                <a:ext cx="2686" cy="0"/>
              </a:xfrm>
              <a:prstGeom prst="straightConnector1">
                <a:avLst/>
              </a:prstGeom>
              <a:noFill/>
              <a:ln w="9525">
                <a:solidFill>
                  <a:schemeClr val="tx1"/>
                </a:solidFill>
                <a:round/>
                <a:headEnd/>
                <a:tailEnd/>
              </a:ln>
            </p:spPr>
          </p:cxnSp>
          <p:sp>
            <p:nvSpPr>
              <p:cNvPr id="828" name="AutoShape 302"/>
              <p:cNvSpPr>
                <a:spLocks noChangeArrowheads="1"/>
              </p:cNvSpPr>
              <p:nvPr/>
            </p:nvSpPr>
            <p:spPr bwMode="gray">
              <a:xfrm>
                <a:off x="1536" y="971"/>
                <a:ext cx="2686" cy="140"/>
              </a:xfrm>
              <a:prstGeom prst="leftRightArrow">
                <a:avLst>
                  <a:gd name="adj1" fmla="val 100000"/>
                  <a:gd name="adj2" fmla="val 0"/>
                </a:avLst>
              </a:prstGeom>
              <a:noFill/>
              <a:ln w="9525">
                <a:noFill/>
                <a:miter lim="800000"/>
                <a:headEnd/>
                <a:tailEnd/>
              </a:ln>
            </p:spPr>
            <p:txBody>
              <a:bodyPr lIns="0" tIns="0" rIns="0" bIns="18286" anchor="b">
                <a:spAutoFit/>
              </a:bodyPr>
              <a:lstStyle/>
              <a:p>
                <a:pPr defTabSz="912813"/>
                <a:r>
                  <a:rPr lang="en-GB" sz="1200" b="1" dirty="0">
                    <a:solidFill>
                      <a:srgbClr val="000000"/>
                    </a:solidFill>
                  </a:rPr>
                  <a:t>Example: performance </a:t>
                </a:r>
                <a:r>
                  <a:rPr lang="en-GB" sz="1200" dirty="0">
                    <a:solidFill>
                      <a:srgbClr val="808080"/>
                    </a:solidFill>
                  </a:rPr>
                  <a:t>(hours)</a:t>
                </a:r>
              </a:p>
            </p:txBody>
          </p:sp>
        </p:grpSp>
        <p:graphicFrame>
          <p:nvGraphicFramePr>
            <p:cNvPr id="273" name="Object 3"/>
            <p:cNvGraphicFramePr>
              <a:graphicFrameLocks/>
            </p:cNvGraphicFramePr>
            <p:nvPr>
              <p:custDataLst>
                <p:tags r:id="rId12"/>
              </p:custDataLst>
            </p:nvPr>
          </p:nvGraphicFramePr>
          <p:xfrm>
            <a:off x="5024437" y="1916112"/>
            <a:ext cx="3375221" cy="2889456"/>
          </p:xfrm>
          <a:graphic>
            <a:graphicData uri="http://schemas.openxmlformats.org/drawingml/2006/chart">
              <c:chart xmlns:c="http://schemas.openxmlformats.org/drawingml/2006/chart" xmlns:r="http://schemas.openxmlformats.org/officeDocument/2006/relationships" r:id="rId146"/>
            </a:graphicData>
          </a:graphic>
        </p:graphicFrame>
        <p:graphicFrame>
          <p:nvGraphicFramePr>
            <p:cNvPr id="274" name="Object 273"/>
            <p:cNvGraphicFramePr>
              <a:graphicFrameLocks noChangeAspect="1"/>
            </p:cNvGraphicFramePr>
            <p:nvPr>
              <p:custDataLst>
                <p:tags r:id="rId13"/>
              </p:custDataLst>
            </p:nvPr>
          </p:nvGraphicFramePr>
          <p:xfrm>
            <a:off x="4973637" y="1879601"/>
            <a:ext cx="3476768" cy="2990707"/>
          </p:xfrm>
          <a:graphic>
            <a:graphicData uri="http://schemas.openxmlformats.org/presentationml/2006/ole">
              <mc:AlternateContent xmlns:mc="http://schemas.openxmlformats.org/markup-compatibility/2006">
                <mc:Choice xmlns:v="urn:schemas-microsoft-com:vml" Requires="v">
                  <p:oleObj spid="_x0000_s9329" name="Chart" r:id="rId147" imgW="3474828" imgH="2987141" progId="MSGraph.Chart.8">
                    <p:embed followColorScheme="full"/>
                  </p:oleObj>
                </mc:Choice>
                <mc:Fallback>
                  <p:oleObj name="Chart" r:id="rId147" imgW="3474828" imgH="2987141" progId="MSGraph.Chart.8">
                    <p:embed followColorScheme="full"/>
                    <p:pic>
                      <p:nvPicPr>
                        <p:cNvPr id="0" name=""/>
                        <p:cNvPicPr>
                          <a:picLocks noChangeAspect="1" noChangeArrowheads="1"/>
                        </p:cNvPicPr>
                        <p:nvPr/>
                      </p:nvPicPr>
                      <p:blipFill>
                        <a:blip r:embed="rId148"/>
                        <a:srcRect/>
                        <a:stretch>
                          <a:fillRect/>
                        </a:stretch>
                      </p:blipFill>
                      <p:spPr bwMode="auto">
                        <a:xfrm>
                          <a:off x="4973637" y="1879601"/>
                          <a:ext cx="3476768" cy="299070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71" name="Straight Connector 270"/>
            <p:cNvCxnSpPr/>
            <p:nvPr>
              <p:custDataLst>
                <p:tags r:id="rId14"/>
              </p:custDataLst>
            </p:nvPr>
          </p:nvCxnSpPr>
          <p:spPr bwMode="gray">
            <a:xfrm>
              <a:off x="7521575" y="1971676"/>
              <a:ext cx="0" cy="444500"/>
            </a:xfrm>
            <a:prstGeom prst="line">
              <a:avLst/>
            </a:prstGeom>
            <a:solidFill>
              <a:schemeClr val="accent1"/>
            </a:solidFill>
            <a:ln w="38100" cap="flat" cmpd="sng" algn="ctr">
              <a:solidFill>
                <a:schemeClr val="tx2"/>
              </a:solidFill>
              <a:prstDash val="solid"/>
              <a:round/>
              <a:headEnd type="none" w="med" len="med"/>
              <a:tailEnd type="triangle" w="med" len="med"/>
            </a:ln>
            <a:effectLst/>
          </p:spPr>
        </p:cxnSp>
        <p:cxnSp>
          <p:nvCxnSpPr>
            <p:cNvPr id="275" name="Straight Connector 274"/>
            <p:cNvCxnSpPr/>
            <p:nvPr>
              <p:custDataLst>
                <p:tags r:id="rId15"/>
              </p:custDataLst>
            </p:nvPr>
          </p:nvCxnSpPr>
          <p:spPr bwMode="auto">
            <a:xfrm>
              <a:off x="6469061" y="1974850"/>
              <a:ext cx="1109662" cy="0"/>
            </a:xfrm>
            <a:prstGeom prst="line">
              <a:avLst/>
            </a:prstGeom>
            <a:solidFill>
              <a:schemeClr val="accent1"/>
            </a:solidFill>
            <a:ln w="6350" cap="flat" cmpd="sng" algn="ctr">
              <a:solidFill>
                <a:schemeClr val="tx1"/>
              </a:solidFill>
              <a:prstDash val="dash"/>
              <a:round/>
              <a:headEnd type="none" w="med" len="med"/>
              <a:tailEnd type="none" w="med" len="med"/>
            </a:ln>
            <a:effectLst/>
          </p:spPr>
        </p:cxnSp>
        <p:sp>
          <p:nvSpPr>
            <p:cNvPr id="900" name="Rectangle 286"/>
            <p:cNvSpPr>
              <a:spLocks noChangeArrowheads="1"/>
            </p:cNvSpPr>
            <p:nvPr>
              <p:custDataLst>
                <p:tags r:id="rId16"/>
              </p:custDataLst>
            </p:nvPr>
          </p:nvSpPr>
          <p:spPr bwMode="auto">
            <a:xfrm>
              <a:off x="7312025" y="2416175"/>
              <a:ext cx="420687" cy="182563"/>
            </a:xfrm>
            <a:prstGeom prst="rect">
              <a:avLst/>
            </a:prstGeom>
            <a:noFill/>
            <a:ln w="9525">
              <a:noFill/>
              <a:miter lim="800000"/>
              <a:headEnd/>
              <a:tailEnd/>
            </a:ln>
            <a:effectLst/>
          </p:spPr>
          <p:txBody>
            <a:bodyPr wrap="none" lIns="20637" tIns="0" rIns="20637" bIns="0" anchor="b">
              <a:noAutofit/>
            </a:bodyPr>
            <a:lstStyle/>
            <a:p>
              <a:pPr algn="ctr" defTabSz="912813">
                <a:buClr>
                  <a:srgbClr val="B9DCEA"/>
                </a:buClr>
              </a:pPr>
              <a:fld id="{13A3BB46-DAF6-4908-BBD0-B7EF8CFF4630}" type="datetime'''''''''''''''18'''''''',''''''''''8'''''''''">
                <a:rPr lang="en-US" sz="1200">
                  <a:solidFill>
                    <a:srgbClr val="000000"/>
                  </a:solidFill>
                  <a:cs typeface="Arial"/>
                </a:rPr>
                <a:pPr algn="ctr" defTabSz="912813">
                  <a:buClr>
                    <a:srgbClr val="B9DCEA"/>
                  </a:buClr>
                </a:pPr>
                <a:t>18,8</a:t>
              </a:fld>
              <a:endParaRPr lang="en-US" sz="1200" dirty="0">
                <a:solidFill>
                  <a:srgbClr val="000000"/>
                </a:solidFill>
                <a:cs typeface="Arial"/>
                <a:sym typeface="Verdana"/>
              </a:endParaRPr>
            </a:p>
          </p:txBody>
        </p:sp>
        <p:sp>
          <p:nvSpPr>
            <p:cNvPr id="901" name="Rectangle 5"/>
            <p:cNvSpPr>
              <a:spLocks noChangeArrowheads="1"/>
            </p:cNvSpPr>
            <p:nvPr>
              <p:custDataLst>
                <p:tags r:id="rId17"/>
              </p:custDataLst>
            </p:nvPr>
          </p:nvSpPr>
          <p:spPr bwMode="auto">
            <a:xfrm>
              <a:off x="7180262" y="2027237"/>
              <a:ext cx="682625" cy="234950"/>
            </a:xfrm>
            <a:prstGeom prst="ellipse">
              <a:avLst/>
            </a:prstGeom>
            <a:solidFill>
              <a:srgbClr val="00B050"/>
            </a:solidFill>
            <a:ln w="9525">
              <a:solidFill>
                <a:schemeClr val="tx2"/>
              </a:solidFill>
              <a:round/>
              <a:headEnd/>
              <a:tailEnd/>
            </a:ln>
            <a:effectLst/>
          </p:spPr>
          <p:txBody>
            <a:bodyPr wrap="none" lIns="0" tIns="0" rIns="0" bIns="0" anchor="ctr">
              <a:noAutofit/>
            </a:bodyPr>
            <a:lstStyle/>
            <a:p>
              <a:pPr algn="ctr" defTabSz="912813">
                <a:lnSpc>
                  <a:spcPct val="90000"/>
                </a:lnSpc>
                <a:buClr>
                  <a:srgbClr val="B9DCEA"/>
                </a:buClr>
              </a:pPr>
              <a:fld id="{BEF88929-0DCB-4AB4-BD06-E16B55BF9CFF}" type="datetime'-''''2''''''6''''''''''''''''''''''''''%'''''''''''''''''''">
                <a:rPr lang="en-US" sz="1200">
                  <a:solidFill>
                    <a:srgbClr val="FFFFFF"/>
                  </a:solidFill>
                  <a:cs typeface="Arial"/>
                </a:rPr>
                <a:pPr algn="ctr" defTabSz="912813">
                  <a:lnSpc>
                    <a:spcPct val="90000"/>
                  </a:lnSpc>
                  <a:buClr>
                    <a:srgbClr val="B9DCEA"/>
                  </a:buClr>
                </a:pPr>
                <a:t>-26%</a:t>
              </a:fld>
              <a:endParaRPr lang="en-US" sz="1200" dirty="0">
                <a:solidFill>
                  <a:srgbClr val="FFFFFF"/>
                </a:solidFill>
                <a:cs typeface="Arial"/>
                <a:sym typeface="Verdana"/>
              </a:endParaRPr>
            </a:p>
          </p:txBody>
        </p:sp>
        <p:sp>
          <p:nvSpPr>
            <p:cNvPr id="903" name="Rectangle 5"/>
            <p:cNvSpPr>
              <a:spLocks noChangeArrowheads="1"/>
            </p:cNvSpPr>
            <p:nvPr>
              <p:custDataLst>
                <p:tags r:id="rId18"/>
              </p:custDataLst>
            </p:nvPr>
          </p:nvSpPr>
          <p:spPr bwMode="gray">
            <a:xfrm>
              <a:off x="7366000" y="4470400"/>
              <a:ext cx="312737" cy="182563"/>
            </a:xfrm>
            <a:prstGeom prst="rect">
              <a:avLst/>
            </a:prstGeom>
            <a:noFill/>
            <a:ln w="9525">
              <a:noFill/>
              <a:miter lim="800000"/>
              <a:headEnd/>
              <a:tailEnd/>
            </a:ln>
            <a:effectLst/>
          </p:spPr>
          <p:txBody>
            <a:bodyPr wrap="none" lIns="20637" tIns="0" rIns="20637" bIns="0" anchor="ctr">
              <a:noAutofit/>
            </a:bodyPr>
            <a:lstStyle/>
            <a:p>
              <a:pPr algn="ctr" defTabSz="912813">
                <a:buClr>
                  <a:srgbClr val="B9DCEA"/>
                </a:buClr>
              </a:pPr>
              <a:fld id="{661EAC23-58C5-4D6A-A24C-C93CD6589FD4}" type="datetime'''''''''''''''2'''''''''''''''''''''''''''',''''''''''''9'">
                <a:rPr lang="en-US" sz="1200">
                  <a:solidFill>
                    <a:srgbClr val="FFFFFF"/>
                  </a:solidFill>
                  <a:cs typeface="Arial"/>
                </a:rPr>
                <a:pPr algn="ctr" defTabSz="912813">
                  <a:buClr>
                    <a:srgbClr val="B9DCEA"/>
                  </a:buClr>
                </a:pPr>
                <a:t>2,9</a:t>
              </a:fld>
              <a:endParaRPr lang="en-US" sz="1200" dirty="0">
                <a:solidFill>
                  <a:srgbClr val="FFFFFF"/>
                </a:solidFill>
                <a:cs typeface="Arial"/>
                <a:sym typeface="Verdana"/>
              </a:endParaRPr>
            </a:p>
          </p:txBody>
        </p:sp>
        <p:sp>
          <p:nvSpPr>
            <p:cNvPr id="904" name="Rectangle 5"/>
            <p:cNvSpPr>
              <a:spLocks noChangeArrowheads="1"/>
            </p:cNvSpPr>
            <p:nvPr>
              <p:custDataLst>
                <p:tags r:id="rId19"/>
              </p:custDataLst>
            </p:nvPr>
          </p:nvSpPr>
          <p:spPr bwMode="gray">
            <a:xfrm>
              <a:off x="7366000" y="4294187"/>
              <a:ext cx="312737" cy="182563"/>
            </a:xfrm>
            <a:prstGeom prst="rect">
              <a:avLst/>
            </a:prstGeom>
            <a:solidFill>
              <a:srgbClr val="281FA0"/>
            </a:solidFill>
            <a:ln w="9525">
              <a:noFill/>
              <a:miter lim="800000"/>
              <a:headEnd/>
              <a:tailEnd/>
            </a:ln>
            <a:effectLst/>
          </p:spPr>
          <p:txBody>
            <a:bodyPr wrap="none" lIns="20637" tIns="0" rIns="20637" bIns="0" anchor="ctr">
              <a:noAutofit/>
            </a:bodyPr>
            <a:lstStyle/>
            <a:p>
              <a:pPr algn="ctr" defTabSz="912813">
                <a:buClr>
                  <a:srgbClr val="B9DCEA"/>
                </a:buClr>
              </a:pPr>
              <a:fld id="{00648FA4-1B6A-4D89-8144-4D94A6373677}" type="datetime'''''0'''''''',''''''''''''''''''''4'''''''''''''''''''''">
                <a:rPr lang="en-US" sz="1200">
                  <a:solidFill>
                    <a:srgbClr val="FFFFFF"/>
                  </a:solidFill>
                  <a:cs typeface="Arial"/>
                </a:rPr>
                <a:pPr algn="ctr" defTabSz="912813">
                  <a:buClr>
                    <a:srgbClr val="B9DCEA"/>
                  </a:buClr>
                </a:pPr>
                <a:t>0,4</a:t>
              </a:fld>
              <a:endParaRPr lang="en-US" sz="1200" dirty="0">
                <a:solidFill>
                  <a:srgbClr val="FFFFFF"/>
                </a:solidFill>
                <a:cs typeface="Arial"/>
                <a:sym typeface="Verdana"/>
              </a:endParaRPr>
            </a:p>
          </p:txBody>
        </p:sp>
        <p:sp>
          <p:nvSpPr>
            <p:cNvPr id="905" name="Rectangle 286"/>
            <p:cNvSpPr>
              <a:spLocks noChangeArrowheads="1"/>
            </p:cNvSpPr>
            <p:nvPr>
              <p:custDataLst>
                <p:tags r:id="rId20"/>
              </p:custDataLst>
            </p:nvPr>
          </p:nvSpPr>
          <p:spPr bwMode="gray">
            <a:xfrm>
              <a:off x="7312025" y="3516312"/>
              <a:ext cx="420687" cy="365125"/>
            </a:xfrm>
            <a:prstGeom prst="rect">
              <a:avLst/>
            </a:prstGeom>
            <a:noFill/>
            <a:ln w="9525">
              <a:noFill/>
              <a:miter lim="800000"/>
              <a:headEnd/>
              <a:tailEnd/>
            </a:ln>
            <a:effectLst/>
          </p:spPr>
          <p:txBody>
            <a:bodyPr wrap="none" lIns="20637" tIns="0" rIns="20637" bIns="0" anchor="ctr">
              <a:noAutofit/>
            </a:bodyPr>
            <a:lstStyle/>
            <a:p>
              <a:pPr algn="ctr" defTabSz="912813">
                <a:buClr>
                  <a:srgbClr val="B9DCEA"/>
                </a:buClr>
              </a:pPr>
              <a:fld id="{25BC56CE-B7D0-43BE-933F-774D54C36BA8}" type="datetime'''''''''1''''''''''''''''''''''2'',''''''2'''''''''">
                <a:rPr lang="en-US" sz="1200">
                  <a:solidFill>
                    <a:srgbClr val="FFFFFF"/>
                  </a:solidFill>
                  <a:cs typeface="Arial"/>
                </a:rPr>
                <a:pPr algn="ctr" defTabSz="912813">
                  <a:buClr>
                    <a:srgbClr val="B9DCEA"/>
                  </a:buClr>
                </a:pPr>
                <a:t>12,2</a:t>
              </a:fld>
              <a:endParaRPr lang="en-US" sz="1200" dirty="0">
                <a:solidFill>
                  <a:srgbClr val="FFFFFF"/>
                </a:solidFill>
                <a:cs typeface="Arial"/>
                <a:sym typeface="Verdana"/>
              </a:endParaRPr>
            </a:p>
            <a:p>
              <a:pPr algn="ctr" defTabSz="912813">
                <a:buClr>
                  <a:srgbClr val="B9DCEA"/>
                </a:buClr>
              </a:pPr>
              <a:endParaRPr lang="en-GB" sz="1200" b="1" dirty="0">
                <a:solidFill>
                  <a:srgbClr val="FFFFFF"/>
                </a:solidFill>
              </a:endParaRPr>
            </a:p>
          </p:txBody>
        </p:sp>
        <p:sp>
          <p:nvSpPr>
            <p:cNvPr id="908" name="Rectangle 907"/>
            <p:cNvSpPr/>
            <p:nvPr>
              <p:custDataLst>
                <p:tags r:id="rId21"/>
              </p:custDataLst>
            </p:nvPr>
          </p:nvSpPr>
          <p:spPr bwMode="gray">
            <a:xfrm>
              <a:off x="7366000" y="2598737"/>
              <a:ext cx="312737" cy="182562"/>
            </a:xfrm>
            <a:prstGeom prst="rect">
              <a:avLst/>
            </a:prstGeom>
            <a:solidFill>
              <a:srgbClr val="FFFFFF"/>
            </a:solidFill>
            <a:ln w="9525" cap="flat" cmpd="sng" algn="ctr">
              <a:noFill/>
              <a:prstDash val="solid"/>
              <a:round/>
              <a:headEnd type="none" w="med" len="med"/>
              <a:tailEnd type="none" w="med" len="med"/>
            </a:ln>
            <a:effectLst/>
          </p:spPr>
          <p:txBody>
            <a:bodyPr vert="horz" wrap="none" lIns="20637" tIns="0" rIns="20637" bIns="0" numCol="1" rtlCol="0" anchor="ctr" anchorCtr="0" compatLnSpc="1">
              <a:prstTxWarp prst="textNoShape">
                <a:avLst/>
              </a:prstTxWarp>
              <a:noAutofit/>
            </a:bodyPr>
            <a:lstStyle/>
            <a:p>
              <a:pPr algn="ctr" defTabSz="933450"/>
              <a:fld id="{4EB3154C-6F1B-46EB-887B-61BE51C27486}" type="datetime'''''''0'''''''''''''''''''''',''0'''''''''''''''''''">
                <a:rPr lang="en-US" sz="1200">
                  <a:solidFill>
                    <a:srgbClr val="000000"/>
                  </a:solidFill>
                  <a:cs typeface="Arial"/>
                  <a:sym typeface="Verdana"/>
                </a:rPr>
                <a:pPr algn="ctr" defTabSz="933450"/>
                <a:t>0,0</a:t>
              </a:fld>
              <a:endParaRPr lang="en-US" sz="1200" dirty="0">
                <a:solidFill>
                  <a:srgbClr val="000000"/>
                </a:solidFill>
                <a:cs typeface="Arial"/>
                <a:sym typeface="Verdana"/>
              </a:endParaRPr>
            </a:p>
          </p:txBody>
        </p:sp>
        <p:sp>
          <p:nvSpPr>
            <p:cNvPr id="910" name="Rectangle 286"/>
            <p:cNvSpPr>
              <a:spLocks noChangeArrowheads="1"/>
            </p:cNvSpPr>
            <p:nvPr>
              <p:custDataLst>
                <p:tags r:id="rId22"/>
              </p:custDataLst>
            </p:nvPr>
          </p:nvSpPr>
          <p:spPr bwMode="auto">
            <a:xfrm>
              <a:off x="5673725" y="1706562"/>
              <a:ext cx="420687" cy="182562"/>
            </a:xfrm>
            <a:prstGeom prst="rect">
              <a:avLst/>
            </a:prstGeom>
            <a:noFill/>
            <a:ln w="9525">
              <a:noFill/>
              <a:miter lim="800000"/>
              <a:headEnd/>
              <a:tailEnd/>
            </a:ln>
            <a:effectLst/>
          </p:spPr>
          <p:txBody>
            <a:bodyPr wrap="none" lIns="20637" tIns="0" rIns="20637" bIns="0" anchor="b">
              <a:noAutofit/>
            </a:bodyPr>
            <a:lstStyle/>
            <a:p>
              <a:pPr algn="ctr" defTabSz="912813">
                <a:buClr>
                  <a:srgbClr val="B9DCEA"/>
                </a:buClr>
              </a:pPr>
              <a:fld id="{3DB983BB-E814-40F7-BA1F-29EC67B28A45}" type="datetime'''''2''''''''''''''''''5,''''''''''''''''''''''''''3'''">
                <a:rPr lang="en-US" sz="1200">
                  <a:solidFill>
                    <a:srgbClr val="000000"/>
                  </a:solidFill>
                  <a:cs typeface="Arial"/>
                </a:rPr>
                <a:pPr algn="ctr" defTabSz="912813">
                  <a:buClr>
                    <a:srgbClr val="B9DCEA"/>
                  </a:buClr>
                </a:pPr>
                <a:t>25,3</a:t>
              </a:fld>
              <a:endParaRPr lang="en-US" sz="1200" dirty="0">
                <a:solidFill>
                  <a:srgbClr val="000000"/>
                </a:solidFill>
                <a:cs typeface="Arial"/>
                <a:sym typeface="Verdana"/>
              </a:endParaRPr>
            </a:p>
          </p:txBody>
        </p:sp>
        <p:sp>
          <p:nvSpPr>
            <p:cNvPr id="911" name="Rectangle 5"/>
            <p:cNvSpPr>
              <a:spLocks noChangeArrowheads="1"/>
            </p:cNvSpPr>
            <p:nvPr>
              <p:custDataLst>
                <p:tags r:id="rId23"/>
              </p:custDataLst>
            </p:nvPr>
          </p:nvSpPr>
          <p:spPr bwMode="gray">
            <a:xfrm>
              <a:off x="5727700" y="4456112"/>
              <a:ext cx="312737" cy="182562"/>
            </a:xfrm>
            <a:prstGeom prst="rect">
              <a:avLst/>
            </a:prstGeom>
            <a:noFill/>
            <a:ln w="9525">
              <a:noFill/>
              <a:miter lim="800000"/>
              <a:headEnd/>
              <a:tailEnd/>
            </a:ln>
            <a:effectLst/>
          </p:spPr>
          <p:txBody>
            <a:bodyPr wrap="none" lIns="20637" tIns="0" rIns="20637" bIns="0" anchor="ctr">
              <a:noAutofit/>
            </a:bodyPr>
            <a:lstStyle/>
            <a:p>
              <a:pPr algn="ctr" defTabSz="912813">
                <a:buClr>
                  <a:srgbClr val="B9DCEA"/>
                </a:buClr>
              </a:pPr>
              <a:fld id="{B9F31801-B5AB-4B1B-810C-9829A310F10E}" type="datetime'''''''''''3'''''''',''''''''''''''''''''''2'''''''''''">
                <a:rPr lang="en-US" sz="1200">
                  <a:solidFill>
                    <a:srgbClr val="FFFFFF"/>
                  </a:solidFill>
                  <a:cs typeface="Arial"/>
                </a:rPr>
                <a:pPr algn="ctr" defTabSz="912813">
                  <a:buClr>
                    <a:srgbClr val="B9DCEA"/>
                  </a:buClr>
                </a:pPr>
                <a:t>3,2</a:t>
              </a:fld>
              <a:endParaRPr lang="en-US" sz="1200" dirty="0">
                <a:solidFill>
                  <a:srgbClr val="FFFFFF"/>
                </a:solidFill>
                <a:cs typeface="Arial"/>
                <a:sym typeface="Verdana"/>
              </a:endParaRPr>
            </a:p>
          </p:txBody>
        </p:sp>
        <p:sp>
          <p:nvSpPr>
            <p:cNvPr id="912" name="Rectangle 5"/>
            <p:cNvSpPr>
              <a:spLocks noChangeArrowheads="1"/>
            </p:cNvSpPr>
            <p:nvPr>
              <p:custDataLst>
                <p:tags r:id="rId24"/>
              </p:custDataLst>
            </p:nvPr>
          </p:nvSpPr>
          <p:spPr bwMode="gray">
            <a:xfrm>
              <a:off x="5727700" y="4227512"/>
              <a:ext cx="312737" cy="182563"/>
            </a:xfrm>
            <a:prstGeom prst="rect">
              <a:avLst/>
            </a:prstGeom>
            <a:solidFill>
              <a:srgbClr val="281FA0"/>
            </a:solidFill>
            <a:ln w="9525">
              <a:noFill/>
              <a:miter lim="800000"/>
              <a:headEnd/>
              <a:tailEnd/>
            </a:ln>
            <a:effectLst/>
          </p:spPr>
          <p:txBody>
            <a:bodyPr wrap="none" lIns="20637" tIns="0" rIns="20637" bIns="0" anchor="ctr">
              <a:noAutofit/>
            </a:bodyPr>
            <a:lstStyle/>
            <a:p>
              <a:pPr algn="ctr" defTabSz="912813">
                <a:buClr>
                  <a:srgbClr val="B9DCEA"/>
                </a:buClr>
              </a:pPr>
              <a:fld id="{2DFB3610-EF4E-41A1-9FE1-801DE0C32EEE}" type="datetime'''''''''1'''''''''''''''''''',''''''''''''''''''''''1'''">
                <a:rPr lang="en-US" sz="1200">
                  <a:solidFill>
                    <a:srgbClr val="FFFFFF"/>
                  </a:solidFill>
                  <a:cs typeface="Arial"/>
                </a:rPr>
                <a:pPr algn="ctr" defTabSz="912813">
                  <a:buClr>
                    <a:srgbClr val="B9DCEA"/>
                  </a:buClr>
                </a:pPr>
                <a:t>1,1</a:t>
              </a:fld>
              <a:endParaRPr lang="en-US" sz="1200" dirty="0">
                <a:solidFill>
                  <a:srgbClr val="FFFFFF"/>
                </a:solidFill>
                <a:cs typeface="Arial"/>
                <a:sym typeface="Verdana"/>
              </a:endParaRPr>
            </a:p>
          </p:txBody>
        </p:sp>
        <p:sp>
          <p:nvSpPr>
            <p:cNvPr id="913" name="Rectangle 5"/>
            <p:cNvSpPr>
              <a:spLocks noChangeArrowheads="1"/>
            </p:cNvSpPr>
            <p:nvPr>
              <p:custDataLst>
                <p:tags r:id="rId25"/>
              </p:custDataLst>
            </p:nvPr>
          </p:nvSpPr>
          <p:spPr bwMode="gray">
            <a:xfrm>
              <a:off x="5673725" y="3279775"/>
              <a:ext cx="420687" cy="182562"/>
            </a:xfrm>
            <a:prstGeom prst="rect">
              <a:avLst/>
            </a:prstGeom>
            <a:noFill/>
            <a:ln w="9525">
              <a:noFill/>
              <a:miter lim="800000"/>
              <a:headEnd/>
              <a:tailEnd/>
            </a:ln>
            <a:effectLst/>
          </p:spPr>
          <p:txBody>
            <a:bodyPr wrap="none" lIns="20637" tIns="0" rIns="20637" bIns="0" anchor="ctr">
              <a:noAutofit/>
            </a:bodyPr>
            <a:lstStyle/>
            <a:p>
              <a:pPr algn="ctr" defTabSz="912813">
                <a:buClr>
                  <a:srgbClr val="B9DCEA"/>
                </a:buClr>
              </a:pPr>
              <a:fld id="{D6A30E15-1938-4253-806B-FB0909B81531}" type="datetime'''''''''1''''6'''',''''''''''''''''''''''''''''''''5'''''''''">
                <a:rPr lang="en-US" sz="1200">
                  <a:solidFill>
                    <a:srgbClr val="FFFFFF"/>
                  </a:solidFill>
                  <a:cs typeface="Arial"/>
                </a:rPr>
                <a:pPr algn="ctr" defTabSz="912813">
                  <a:buClr>
                    <a:srgbClr val="B9DCEA"/>
                  </a:buClr>
                </a:pPr>
                <a:t>16,5</a:t>
              </a:fld>
              <a:endParaRPr lang="en-US" sz="1200" dirty="0">
                <a:solidFill>
                  <a:srgbClr val="FFFFFF"/>
                </a:solidFill>
                <a:cs typeface="Arial"/>
                <a:sym typeface="Verdana"/>
              </a:endParaRPr>
            </a:p>
          </p:txBody>
        </p:sp>
        <p:sp>
          <p:nvSpPr>
            <p:cNvPr id="914" name="Rectangle 5"/>
            <p:cNvSpPr>
              <a:spLocks noChangeArrowheads="1"/>
            </p:cNvSpPr>
            <p:nvPr>
              <p:custDataLst>
                <p:tags r:id="rId26"/>
              </p:custDataLst>
            </p:nvPr>
          </p:nvSpPr>
          <p:spPr bwMode="auto">
            <a:xfrm>
              <a:off x="5727700" y="2332037"/>
              <a:ext cx="312737" cy="182563"/>
            </a:xfrm>
            <a:prstGeom prst="rect">
              <a:avLst/>
            </a:prstGeom>
            <a:solidFill>
              <a:schemeClr val="accent2"/>
            </a:solidFill>
            <a:ln w="9525">
              <a:noFill/>
              <a:miter lim="800000"/>
              <a:headEnd/>
              <a:tailEnd/>
            </a:ln>
            <a:effectLst/>
          </p:spPr>
          <p:txBody>
            <a:bodyPr wrap="none" lIns="20637" tIns="0" rIns="20637" bIns="0" anchor="ctr">
              <a:noAutofit/>
            </a:bodyPr>
            <a:lstStyle/>
            <a:p>
              <a:pPr algn="ctr" defTabSz="912813">
                <a:buClr>
                  <a:srgbClr val="B9DCEA"/>
                </a:buClr>
              </a:pPr>
              <a:fld id="{B77B8F38-1BEA-49B2-8144-3BD736EBB601}" type="datetime'''''1'''''''''''',''''''''''''''''''''''''0'''''''''''''''">
                <a:rPr lang="en-US" sz="1200">
                  <a:solidFill>
                    <a:srgbClr val="000000"/>
                  </a:solidFill>
                  <a:cs typeface="Arial"/>
                </a:rPr>
                <a:pPr algn="ctr" defTabSz="912813">
                  <a:buClr>
                    <a:srgbClr val="B9DCEA"/>
                  </a:buClr>
                </a:pPr>
                <a:t>1,0</a:t>
              </a:fld>
              <a:endParaRPr lang="en-US" sz="1200" dirty="0">
                <a:solidFill>
                  <a:srgbClr val="000000"/>
                </a:solidFill>
                <a:cs typeface="Arial"/>
                <a:sym typeface="Verdana"/>
              </a:endParaRPr>
            </a:p>
          </p:txBody>
        </p:sp>
        <p:sp>
          <p:nvSpPr>
            <p:cNvPr id="915" name="Rectangle 914"/>
            <p:cNvSpPr/>
            <p:nvPr>
              <p:custDataLst>
                <p:tags r:id="rId27"/>
              </p:custDataLst>
            </p:nvPr>
          </p:nvSpPr>
          <p:spPr bwMode="auto">
            <a:xfrm>
              <a:off x="5727700" y="2084387"/>
              <a:ext cx="312737"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ctr" anchorCtr="0" compatLnSpc="1">
              <a:prstTxWarp prst="textNoShape">
                <a:avLst/>
              </a:prstTxWarp>
              <a:noAutofit/>
            </a:bodyPr>
            <a:lstStyle/>
            <a:p>
              <a:pPr algn="ctr" defTabSz="933450"/>
              <a:fld id="{35141CE9-C5C2-415F-B886-8946ECE6546E}" type="datetime'3,''''''''''''''5'''''''''''''''''''''''''''''">
                <a:rPr lang="en-US" sz="1200">
                  <a:solidFill>
                    <a:srgbClr val="000000"/>
                  </a:solidFill>
                  <a:cs typeface="Arial"/>
                </a:rPr>
                <a:pPr algn="ctr" defTabSz="933450"/>
                <a:t>3,5</a:t>
              </a:fld>
              <a:endParaRPr lang="en-US" sz="1200" dirty="0">
                <a:solidFill>
                  <a:srgbClr val="000000"/>
                </a:solidFill>
                <a:cs typeface="Arial"/>
                <a:sym typeface="Verdana"/>
              </a:endParaRPr>
            </a:p>
          </p:txBody>
        </p:sp>
        <p:sp>
          <p:nvSpPr>
            <p:cNvPr id="916" name="Rectangle 5"/>
            <p:cNvSpPr>
              <a:spLocks noChangeArrowheads="1"/>
            </p:cNvSpPr>
            <p:nvPr>
              <p:custDataLst>
                <p:tags r:id="rId28"/>
              </p:custDataLst>
            </p:nvPr>
          </p:nvSpPr>
          <p:spPr bwMode="gray">
            <a:xfrm>
              <a:off x="5727700" y="1889125"/>
              <a:ext cx="312737" cy="182563"/>
            </a:xfrm>
            <a:prstGeom prst="rect">
              <a:avLst/>
            </a:prstGeom>
            <a:solidFill>
              <a:srgbClr val="FFFFFF"/>
            </a:solidFill>
            <a:ln w="9525">
              <a:noFill/>
              <a:miter lim="800000"/>
              <a:headEnd/>
              <a:tailEnd/>
            </a:ln>
            <a:effectLst/>
          </p:spPr>
          <p:txBody>
            <a:bodyPr wrap="none" lIns="20637" tIns="0" rIns="20637" bIns="0" anchor="ctr">
              <a:noAutofit/>
            </a:bodyPr>
            <a:lstStyle/>
            <a:p>
              <a:pPr algn="ctr" defTabSz="912813">
                <a:buClr>
                  <a:srgbClr val="B9DCEA"/>
                </a:buClr>
              </a:pPr>
              <a:fld id="{67A38A1A-8A03-48F6-AB4B-06878D708B70}" type="datetime'''''''''''''''''''0'''''''''''''''''''''''''',''''''''''1'">
                <a:rPr lang="en-US" sz="1200">
                  <a:solidFill>
                    <a:srgbClr val="000000"/>
                  </a:solidFill>
                  <a:cs typeface="Arial"/>
                </a:rPr>
                <a:pPr algn="ctr" defTabSz="912813">
                  <a:buClr>
                    <a:srgbClr val="B9DCEA"/>
                  </a:buClr>
                </a:pPr>
                <a:t>0,1</a:t>
              </a:fld>
              <a:endParaRPr lang="en-US" sz="1200" dirty="0">
                <a:solidFill>
                  <a:srgbClr val="000000"/>
                </a:solidFill>
                <a:cs typeface="Arial"/>
                <a:sym typeface="Verdana"/>
              </a:endParaRPr>
            </a:p>
          </p:txBody>
        </p:sp>
        <p:sp>
          <p:nvSpPr>
            <p:cNvPr id="907" name="Rectangle 906"/>
            <p:cNvSpPr/>
            <p:nvPr>
              <p:custDataLst>
                <p:tags r:id="rId29"/>
              </p:custDataLst>
            </p:nvPr>
          </p:nvSpPr>
          <p:spPr bwMode="auto">
            <a:xfrm>
              <a:off x="7366000" y="2760662"/>
              <a:ext cx="312737"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ctr" anchorCtr="0" compatLnSpc="1">
              <a:prstTxWarp prst="textNoShape">
                <a:avLst/>
              </a:prstTxWarp>
              <a:noAutofit/>
            </a:bodyPr>
            <a:lstStyle/>
            <a:p>
              <a:pPr algn="ctr" defTabSz="933450"/>
              <a:fld id="{0B6667AC-F23B-4175-8F8A-DAD0841DC7D6}" type="datetime'''''''''''''''3'''''''',''0'''''''">
                <a:rPr lang="en-US" sz="1200">
                  <a:solidFill>
                    <a:srgbClr val="000000"/>
                  </a:solidFill>
                  <a:cs typeface="Arial"/>
                </a:rPr>
                <a:pPr algn="ctr" defTabSz="933450"/>
                <a:t>3,0</a:t>
              </a:fld>
              <a:endParaRPr lang="en-US" sz="1200" dirty="0">
                <a:solidFill>
                  <a:srgbClr val="000000"/>
                </a:solidFill>
                <a:cs typeface="Arial"/>
                <a:sym typeface="Verdana"/>
              </a:endParaRPr>
            </a:p>
          </p:txBody>
        </p:sp>
        <p:sp>
          <p:nvSpPr>
            <p:cNvPr id="906" name="Rectangle 286"/>
            <p:cNvSpPr>
              <a:spLocks noChangeArrowheads="1"/>
            </p:cNvSpPr>
            <p:nvPr>
              <p:custDataLst>
                <p:tags r:id="rId30"/>
              </p:custDataLst>
            </p:nvPr>
          </p:nvSpPr>
          <p:spPr bwMode="auto">
            <a:xfrm>
              <a:off x="7339012" y="2932112"/>
              <a:ext cx="365125" cy="182562"/>
            </a:xfrm>
            <a:prstGeom prst="rect">
              <a:avLst/>
            </a:prstGeom>
            <a:solidFill>
              <a:schemeClr val="accent2"/>
            </a:solidFill>
            <a:ln w="9525">
              <a:noFill/>
              <a:miter lim="800000"/>
              <a:headEnd/>
              <a:tailEnd/>
            </a:ln>
            <a:effectLst/>
          </p:spPr>
          <p:txBody>
            <a:bodyPr wrap="none" lIns="20637" tIns="0" rIns="20637" bIns="0" anchor="ctr">
              <a:noAutofit/>
            </a:bodyPr>
            <a:lstStyle/>
            <a:p>
              <a:pPr algn="ctr" defTabSz="912813">
                <a:buClr>
                  <a:srgbClr val="B9DCEA"/>
                </a:buClr>
              </a:pPr>
              <a:fld id="{8BCDBDAA-05BB-4051-99F2-9296B117F38C}" type="datetime'''''''''''''''''''''''''0'''',2'''''''''''''''''''''''''''''">
                <a:rPr lang="en-US" sz="1200">
                  <a:solidFill>
                    <a:srgbClr val="000000"/>
                  </a:solidFill>
                  <a:cs typeface="Arial"/>
                </a:rPr>
                <a:pPr algn="ctr" defTabSz="912813">
                  <a:buClr>
                    <a:srgbClr val="B9DCEA"/>
                  </a:buClr>
                </a:pPr>
                <a:t>0,2</a:t>
              </a:fld>
              <a:r>
                <a:rPr lang="en-GB" sz="1200" dirty="0">
                  <a:solidFill>
                    <a:srgbClr val="000000"/>
                  </a:solidFill>
                </a:rPr>
                <a:t> </a:t>
              </a:r>
            </a:p>
          </p:txBody>
        </p:sp>
      </p:grpSp>
      <p:grpSp>
        <p:nvGrpSpPr>
          <p:cNvPr id="288" name="Group 287"/>
          <p:cNvGrpSpPr/>
          <p:nvPr/>
        </p:nvGrpSpPr>
        <p:grpSpPr>
          <a:xfrm>
            <a:off x="5426553" y="5076020"/>
            <a:ext cx="4080555" cy="1294606"/>
            <a:chOff x="3530147" y="5339066"/>
            <a:chExt cx="3801608" cy="1294606"/>
          </a:xfrm>
        </p:grpSpPr>
        <p:grpSp>
          <p:nvGrpSpPr>
            <p:cNvPr id="286" name="Group 285"/>
            <p:cNvGrpSpPr/>
            <p:nvPr/>
          </p:nvGrpSpPr>
          <p:grpSpPr>
            <a:xfrm>
              <a:off x="4625181" y="5339066"/>
              <a:ext cx="1597025" cy="1286555"/>
              <a:chOff x="4639696" y="5339066"/>
              <a:chExt cx="1597025" cy="1286555"/>
            </a:xfrm>
          </p:grpSpPr>
          <p:pic>
            <p:nvPicPr>
              <p:cNvPr id="278" name="Picture 49"/>
              <p:cNvPicPr>
                <a:picLocks noChangeArrowheads="1"/>
              </p:cNvPicPr>
              <p:nvPr>
                <p:custDataLst>
                  <p:tags r:id="rId9"/>
                </p:custDataLst>
              </p:nvPr>
            </p:nvPicPr>
            <p:blipFill>
              <a:blip r:embed="rId149" cstate="print">
                <a:lum bright="10000"/>
              </a:blip>
              <a:srcRect/>
              <a:stretch>
                <a:fillRect/>
              </a:stretch>
            </p:blipFill>
            <p:spPr bwMode="gray">
              <a:xfrm rot="5400000">
                <a:off x="4794931" y="5183831"/>
                <a:ext cx="1286555" cy="1597025"/>
              </a:xfrm>
              <a:prstGeom prst="rect">
                <a:avLst/>
              </a:prstGeom>
              <a:noFill/>
              <a:ln w="9525" algn="ctr">
                <a:noFill/>
                <a:miter lim="800000"/>
                <a:headEnd/>
                <a:tailEnd/>
              </a:ln>
            </p:spPr>
          </p:pic>
          <p:sp>
            <p:nvSpPr>
              <p:cNvPr id="282" name="Rectangle 51"/>
              <p:cNvSpPr>
                <a:spLocks noChangeArrowheads="1"/>
              </p:cNvSpPr>
              <p:nvPr>
                <p:custDataLst>
                  <p:tags r:id="rId10"/>
                </p:custDataLst>
              </p:nvPr>
            </p:nvSpPr>
            <p:spPr bwMode="gray">
              <a:xfrm>
                <a:off x="5037591" y="5730840"/>
                <a:ext cx="782637" cy="430887"/>
              </a:xfrm>
              <a:prstGeom prst="rect">
                <a:avLst/>
              </a:prstGeom>
              <a:noFill/>
              <a:ln w="9525">
                <a:noFill/>
                <a:miter lim="800000"/>
                <a:headEnd/>
                <a:tailEnd/>
              </a:ln>
            </p:spPr>
            <p:txBody>
              <a:bodyPr wrap="square" lIns="0" tIns="0" rIns="0" bIns="0">
                <a:spAutoFit/>
              </a:bodyPr>
              <a:lstStyle/>
              <a:p>
                <a:pPr algn="ctr" defTabSz="912813">
                  <a:spcBef>
                    <a:spcPct val="20000"/>
                  </a:spcBef>
                  <a:buClr>
                    <a:srgbClr val="B9DCEA"/>
                  </a:buClr>
                </a:pPr>
                <a:r>
                  <a:rPr lang="en-US" sz="1400" dirty="0">
                    <a:solidFill>
                      <a:srgbClr val="000000"/>
                    </a:solidFill>
                  </a:rPr>
                  <a:t>Vessels on time</a:t>
                </a:r>
              </a:p>
            </p:txBody>
          </p:sp>
        </p:grpSp>
        <p:grpSp>
          <p:nvGrpSpPr>
            <p:cNvPr id="285" name="Group 284"/>
            <p:cNvGrpSpPr/>
            <p:nvPr/>
          </p:nvGrpSpPr>
          <p:grpSpPr>
            <a:xfrm>
              <a:off x="3530147" y="5347117"/>
              <a:ext cx="1087437" cy="1286555"/>
              <a:chOff x="3472090" y="5347117"/>
              <a:chExt cx="1087437" cy="1286555"/>
            </a:xfrm>
          </p:grpSpPr>
          <p:pic>
            <p:nvPicPr>
              <p:cNvPr id="277" name="Picture 47"/>
              <p:cNvPicPr>
                <a:picLocks noChangeAspect="1" noChangeArrowheads="1"/>
              </p:cNvPicPr>
              <p:nvPr>
                <p:custDataLst>
                  <p:tags r:id="rId7"/>
                </p:custDataLst>
              </p:nvPr>
            </p:nvPicPr>
            <p:blipFill>
              <a:blip r:embed="rId150" cstate="print">
                <a:lum bright="10000"/>
              </a:blip>
              <a:srcRect r="21606"/>
              <a:stretch>
                <a:fillRect/>
              </a:stretch>
            </p:blipFill>
            <p:spPr bwMode="gray">
              <a:xfrm rot="5400000" flipV="1">
                <a:off x="3372531" y="5446676"/>
                <a:ext cx="1286555" cy="1087437"/>
              </a:xfrm>
              <a:prstGeom prst="rect">
                <a:avLst/>
              </a:prstGeom>
              <a:noFill/>
              <a:ln w="9525" algn="ctr">
                <a:noFill/>
                <a:miter lim="800000"/>
                <a:headEnd/>
                <a:tailEnd/>
              </a:ln>
            </p:spPr>
          </p:pic>
          <p:sp>
            <p:nvSpPr>
              <p:cNvPr id="283" name="Rectangle 50"/>
              <p:cNvSpPr>
                <a:spLocks noChangeArrowheads="1"/>
              </p:cNvSpPr>
              <p:nvPr>
                <p:custDataLst>
                  <p:tags r:id="rId8"/>
                </p:custDataLst>
              </p:nvPr>
            </p:nvSpPr>
            <p:spPr bwMode="gray">
              <a:xfrm>
                <a:off x="3542620" y="5475933"/>
                <a:ext cx="876017" cy="1077218"/>
              </a:xfrm>
              <a:prstGeom prst="rect">
                <a:avLst/>
              </a:prstGeom>
              <a:noFill/>
              <a:ln w="9525">
                <a:noFill/>
                <a:miter lim="800000"/>
                <a:headEnd/>
                <a:tailEnd/>
              </a:ln>
            </p:spPr>
            <p:txBody>
              <a:bodyPr wrap="square" lIns="0" tIns="0" rIns="0" bIns="0">
                <a:spAutoFit/>
              </a:bodyPr>
              <a:lstStyle/>
              <a:p>
                <a:pPr algn="ctr" defTabSz="912813">
                  <a:spcBef>
                    <a:spcPct val="20000"/>
                  </a:spcBef>
                  <a:buClr>
                    <a:srgbClr val="B9DCEA"/>
                  </a:buClr>
                </a:pPr>
                <a:r>
                  <a:rPr lang="en-US" sz="1400" dirty="0">
                    <a:solidFill>
                      <a:srgbClr val="000000"/>
                    </a:solidFill>
                  </a:rPr>
                  <a:t>More timely and accurate planning</a:t>
                </a:r>
              </a:p>
            </p:txBody>
          </p:sp>
        </p:grpSp>
        <p:grpSp>
          <p:nvGrpSpPr>
            <p:cNvPr id="287" name="Group 286"/>
            <p:cNvGrpSpPr/>
            <p:nvPr/>
          </p:nvGrpSpPr>
          <p:grpSpPr>
            <a:xfrm>
              <a:off x="6237967" y="5341675"/>
              <a:ext cx="1093788" cy="1286555"/>
              <a:chOff x="6296025" y="5341675"/>
              <a:chExt cx="1093788" cy="1286555"/>
            </a:xfrm>
          </p:grpSpPr>
          <p:pic>
            <p:nvPicPr>
              <p:cNvPr id="272" name="Picture 46"/>
              <p:cNvPicPr>
                <a:picLocks noChangeArrowheads="1"/>
              </p:cNvPicPr>
              <p:nvPr>
                <p:custDataLst>
                  <p:tags r:id="rId5"/>
                </p:custDataLst>
              </p:nvPr>
            </p:nvPicPr>
            <p:blipFill>
              <a:blip r:embed="rId150" cstate="print">
                <a:lum bright="10000"/>
              </a:blip>
              <a:srcRect r="21773"/>
              <a:stretch>
                <a:fillRect/>
              </a:stretch>
            </p:blipFill>
            <p:spPr bwMode="gray">
              <a:xfrm rot="5400000">
                <a:off x="6202817" y="5441234"/>
                <a:ext cx="1286555" cy="1087437"/>
              </a:xfrm>
              <a:prstGeom prst="rect">
                <a:avLst/>
              </a:prstGeom>
              <a:noFill/>
              <a:ln w="9525">
                <a:noFill/>
                <a:miter lim="800000"/>
                <a:headEnd/>
                <a:tailEnd/>
              </a:ln>
            </p:spPr>
          </p:pic>
          <p:sp>
            <p:nvSpPr>
              <p:cNvPr id="284" name="Rectangle 52"/>
              <p:cNvSpPr>
                <a:spLocks noChangeArrowheads="1"/>
              </p:cNvSpPr>
              <p:nvPr>
                <p:custDataLst>
                  <p:tags r:id="rId6"/>
                </p:custDataLst>
              </p:nvPr>
            </p:nvSpPr>
            <p:spPr bwMode="gray">
              <a:xfrm>
                <a:off x="6296025" y="5403814"/>
                <a:ext cx="1077232" cy="1163395"/>
              </a:xfrm>
              <a:prstGeom prst="rect">
                <a:avLst/>
              </a:prstGeom>
              <a:noFill/>
              <a:ln w="9525">
                <a:noFill/>
                <a:miter lim="800000"/>
                <a:headEnd/>
                <a:tailEnd/>
              </a:ln>
            </p:spPr>
            <p:txBody>
              <a:bodyPr wrap="square" lIns="0" tIns="0" rIns="0" bIns="0">
                <a:spAutoFit/>
              </a:bodyPr>
              <a:lstStyle/>
              <a:p>
                <a:pPr algn="ctr" defTabSz="912813">
                  <a:spcBef>
                    <a:spcPct val="20000"/>
                  </a:spcBef>
                  <a:buClr>
                    <a:srgbClr val="B9DCEA"/>
                  </a:buClr>
                </a:pPr>
                <a:r>
                  <a:rPr lang="en-US" sz="1400" dirty="0">
                    <a:solidFill>
                      <a:srgbClr val="000000"/>
                    </a:solidFill>
                  </a:rPr>
                  <a:t>Optimized port stay </a:t>
                </a:r>
              </a:p>
              <a:p>
                <a:pPr algn="ctr" defTabSz="912813">
                  <a:spcBef>
                    <a:spcPct val="20000"/>
                  </a:spcBef>
                  <a:buClr>
                    <a:srgbClr val="B9DCEA"/>
                  </a:buClr>
                </a:pPr>
                <a:r>
                  <a:rPr lang="en-US" sz="1400" dirty="0">
                    <a:solidFill>
                      <a:srgbClr val="000000"/>
                    </a:solidFill>
                  </a:rPr>
                  <a:t>and</a:t>
                </a:r>
              </a:p>
              <a:p>
                <a:pPr algn="ctr" defTabSz="912813">
                  <a:spcBef>
                    <a:spcPct val="20000"/>
                  </a:spcBef>
                  <a:buClr>
                    <a:srgbClr val="B9DCEA"/>
                  </a:buClr>
                </a:pPr>
                <a:r>
                  <a:rPr lang="en-US" sz="1400" dirty="0">
                    <a:solidFill>
                      <a:srgbClr val="000000"/>
                    </a:solidFill>
                  </a:rPr>
                  <a:t>reduced emissions</a:t>
                </a:r>
              </a:p>
            </p:txBody>
          </p:sp>
        </p:grpSp>
      </p:grpSp>
    </p:spTree>
    <p:extLst>
      <p:ext uri="{BB962C8B-B14F-4D97-AF65-F5344CB8AC3E}">
        <p14:creationId xmlns:p14="http://schemas.microsoft.com/office/powerpoint/2010/main" val="28631081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srcRect/>
          <a:stretch>
            <a:fillRect/>
          </a:stretch>
        </p:blipFill>
        <p:spPr bwMode="auto">
          <a:xfrm>
            <a:off x="634784" y="1615858"/>
            <a:ext cx="7468202" cy="4427650"/>
          </a:xfrm>
          <a:prstGeom prst="rect">
            <a:avLst/>
          </a:prstGeom>
          <a:noFill/>
          <a:ln w="9525">
            <a:noFill/>
            <a:miter lim="800000"/>
            <a:headEnd/>
            <a:tailEnd/>
          </a:ln>
          <a:effectLst/>
        </p:spPr>
      </p:pic>
      <p:sp>
        <p:nvSpPr>
          <p:cNvPr id="2" name="Title 1"/>
          <p:cNvSpPr>
            <a:spLocks noGrp="1"/>
          </p:cNvSpPr>
          <p:nvPr>
            <p:ph type="title"/>
          </p:nvPr>
        </p:nvSpPr>
        <p:spPr>
          <a:xfrm>
            <a:off x="808976" y="365970"/>
            <a:ext cx="7989888" cy="560956"/>
          </a:xfrm>
        </p:spPr>
        <p:txBody>
          <a:bodyPr/>
          <a:lstStyle/>
          <a:p>
            <a:r>
              <a:rPr lang="en-US" dirty="0" smtClean="0">
                <a:latin typeface="+mn-lt"/>
              </a:rPr>
              <a:t>The Difference in Fuels</a:t>
            </a:r>
            <a:endParaRPr lang="en-GB" dirty="0">
              <a:latin typeface="+mn-lt"/>
            </a:endParaRPr>
          </a:p>
        </p:txBody>
      </p:sp>
      <p:sp>
        <p:nvSpPr>
          <p:cNvPr id="6" name="Right Arrow 5"/>
          <p:cNvSpPr/>
          <p:nvPr/>
        </p:nvSpPr>
        <p:spPr bwMode="auto">
          <a:xfrm rot="10800000">
            <a:off x="3654472" y="3498936"/>
            <a:ext cx="1371600" cy="885173"/>
          </a:xfrm>
          <a:prstGeom prst="rightArrow">
            <a:avLst/>
          </a:prstGeom>
          <a:solidFill>
            <a:schemeClr val="bg2"/>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GB" sz="1400" dirty="0">
              <a:latin typeface="Verdana" pitchFamily="34" charset="0"/>
            </a:endParaRPr>
          </a:p>
        </p:txBody>
      </p:sp>
      <p:sp>
        <p:nvSpPr>
          <p:cNvPr id="7" name="TextBox 6"/>
          <p:cNvSpPr txBox="1"/>
          <p:nvPr/>
        </p:nvSpPr>
        <p:spPr>
          <a:xfrm>
            <a:off x="8471761" y="2739029"/>
            <a:ext cx="3340281" cy="2031325"/>
          </a:xfrm>
          <a:prstGeom prst="rect">
            <a:avLst/>
          </a:prstGeom>
          <a:noFill/>
        </p:spPr>
        <p:txBody>
          <a:bodyPr wrap="square" rtlCol="0">
            <a:spAutoFit/>
          </a:bodyPr>
          <a:lstStyle/>
          <a:p>
            <a:r>
              <a:rPr lang="en-US" dirty="0" smtClean="0"/>
              <a:t>Changing fuels means</a:t>
            </a:r>
          </a:p>
          <a:p>
            <a:endParaRPr lang="en-US" dirty="0"/>
          </a:p>
          <a:p>
            <a:pPr marL="285750" indent="-285750">
              <a:buFont typeface="Arial" panose="020B0604020202020204" pitchFamily="34" charset="0"/>
              <a:buChar char="•"/>
            </a:pPr>
            <a:r>
              <a:rPr lang="en-US" dirty="0" smtClean="0"/>
              <a:t>97</a:t>
            </a:r>
            <a:r>
              <a:rPr lang="en-US" dirty="0"/>
              <a:t>% reduction in </a:t>
            </a:r>
            <a:r>
              <a:rPr lang="en-US" dirty="0" smtClean="0"/>
              <a:t>SOx</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86% reduction in PM</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6-10% </a:t>
            </a:r>
            <a:r>
              <a:rPr lang="en-US" dirty="0" smtClean="0"/>
              <a:t>reduction in NOx</a:t>
            </a:r>
            <a:endParaRPr lang="en-GB" dirty="0"/>
          </a:p>
        </p:txBody>
      </p:sp>
    </p:spTree>
    <p:extLst>
      <p:ext uri="{BB962C8B-B14F-4D97-AF65-F5344CB8AC3E}">
        <p14:creationId xmlns:p14="http://schemas.microsoft.com/office/powerpoint/2010/main" val="19902796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15" y="468683"/>
            <a:ext cx="11298477" cy="739609"/>
          </a:xfrm>
        </p:spPr>
        <p:txBody>
          <a:bodyPr/>
          <a:lstStyle/>
          <a:p>
            <a:r>
              <a:rPr lang="en-US" dirty="0" smtClean="0">
                <a:solidFill>
                  <a:srgbClr val="000000"/>
                </a:solidFill>
                <a:latin typeface="+mn-lt"/>
              </a:rPr>
              <a:t>Voluntary use of 0.1% Sulfur fuel </a:t>
            </a:r>
            <a:r>
              <a:rPr lang="en-US" dirty="0" smtClean="0">
                <a:latin typeface="+mn-lt"/>
              </a:rPr>
              <a:t>reduced air emissions significantly.</a:t>
            </a:r>
            <a:endParaRPr lang="en-US" dirty="0">
              <a:latin typeface="+mn-lt"/>
            </a:endParaRPr>
          </a:p>
        </p:txBody>
      </p:sp>
      <p:sp>
        <p:nvSpPr>
          <p:cNvPr id="18" name="TextBox 17"/>
          <p:cNvSpPr txBox="1"/>
          <p:nvPr/>
        </p:nvSpPr>
        <p:spPr>
          <a:xfrm>
            <a:off x="814191" y="1846880"/>
            <a:ext cx="5300859" cy="4247311"/>
          </a:xfrm>
          <a:prstGeom prst="rect">
            <a:avLst/>
          </a:prstGeom>
          <a:noFill/>
        </p:spPr>
        <p:txBody>
          <a:bodyPr wrap="square" lIns="91432" tIns="45717" rIns="91432" bIns="45717" rtlCol="0">
            <a:spAutoFit/>
          </a:bodyPr>
          <a:lstStyle/>
          <a:p>
            <a:pPr>
              <a:buFont typeface="Wingdings" pitchFamily="2" charset="2"/>
              <a:buChar char="Ø"/>
            </a:pPr>
            <a:r>
              <a:rPr lang="da-DK" dirty="0">
                <a:solidFill>
                  <a:srgbClr val="000000"/>
                </a:solidFill>
              </a:rPr>
              <a:t> </a:t>
            </a:r>
            <a:r>
              <a:rPr lang="da-DK" dirty="0" smtClean="0">
                <a:solidFill>
                  <a:srgbClr val="000000"/>
                </a:solidFill>
              </a:rPr>
              <a:t>Maersk Line made &gt;2200 </a:t>
            </a:r>
            <a:r>
              <a:rPr lang="da-DK" dirty="0">
                <a:solidFill>
                  <a:srgbClr val="000000"/>
                </a:solidFill>
              </a:rPr>
              <a:t>port calls </a:t>
            </a:r>
            <a:r>
              <a:rPr lang="da-DK" dirty="0" smtClean="0">
                <a:solidFill>
                  <a:srgbClr val="000000"/>
                </a:solidFill>
              </a:rPr>
              <a:t>with voluntary fuel changes 2006 - 2012</a:t>
            </a:r>
            <a:endParaRPr lang="da-DK" dirty="0">
              <a:solidFill>
                <a:srgbClr val="000000"/>
              </a:solidFill>
            </a:endParaRPr>
          </a:p>
          <a:p>
            <a:endParaRPr lang="da-DK" dirty="0">
              <a:solidFill>
                <a:srgbClr val="000000"/>
              </a:solidFill>
            </a:endParaRPr>
          </a:p>
          <a:p>
            <a:pPr>
              <a:buFont typeface="Wingdings" pitchFamily="2" charset="2"/>
              <a:buChar char="Ø"/>
            </a:pPr>
            <a:r>
              <a:rPr lang="da-DK" dirty="0" smtClean="0">
                <a:solidFill>
                  <a:srgbClr val="000000"/>
                </a:solidFill>
              </a:rPr>
              <a:t> Became </a:t>
            </a:r>
            <a:r>
              <a:rPr lang="da-DK" dirty="0">
                <a:solidFill>
                  <a:srgbClr val="000000"/>
                </a:solidFill>
              </a:rPr>
              <a:t>mandatory </a:t>
            </a:r>
            <a:endParaRPr lang="da-DK" dirty="0" smtClean="0">
              <a:solidFill>
                <a:srgbClr val="000000"/>
              </a:solidFill>
            </a:endParaRPr>
          </a:p>
          <a:p>
            <a:pPr lvl="1">
              <a:buFont typeface="Wingdings" pitchFamily="2" charset="2"/>
              <a:buChar char="Ø"/>
            </a:pPr>
            <a:r>
              <a:rPr lang="da-DK" dirty="0" smtClean="0">
                <a:solidFill>
                  <a:srgbClr val="000000"/>
                </a:solidFill>
              </a:rPr>
              <a:t>California 2009</a:t>
            </a:r>
          </a:p>
          <a:p>
            <a:pPr lvl="1">
              <a:buFont typeface="Wingdings" pitchFamily="2" charset="2"/>
              <a:buChar char="Ø"/>
            </a:pPr>
            <a:r>
              <a:rPr lang="da-DK" dirty="0" smtClean="0">
                <a:solidFill>
                  <a:srgbClr val="000000"/>
                </a:solidFill>
              </a:rPr>
              <a:t>North American ECA 2012 and 2015</a:t>
            </a:r>
          </a:p>
          <a:p>
            <a:pPr>
              <a:buFont typeface="Wingdings" pitchFamily="2" charset="2"/>
              <a:buChar char="Ø"/>
            </a:pPr>
            <a:endParaRPr lang="da-DK" dirty="0">
              <a:solidFill>
                <a:srgbClr val="000000"/>
              </a:solidFill>
            </a:endParaRPr>
          </a:p>
          <a:p>
            <a:pPr>
              <a:buFont typeface="Wingdings" pitchFamily="2" charset="2"/>
              <a:buChar char="Ø"/>
            </a:pPr>
            <a:endParaRPr lang="da-DK" dirty="0" smtClean="0">
              <a:solidFill>
                <a:srgbClr val="000000"/>
              </a:solidFill>
            </a:endParaRPr>
          </a:p>
          <a:p>
            <a:pPr>
              <a:buFont typeface="Wingdings" pitchFamily="2" charset="2"/>
              <a:buChar char="Ø"/>
            </a:pPr>
            <a:r>
              <a:rPr lang="da-DK" dirty="0" smtClean="0">
                <a:solidFill>
                  <a:srgbClr val="000000"/>
                </a:solidFill>
              </a:rPr>
              <a:t>What we learned:</a:t>
            </a:r>
          </a:p>
          <a:p>
            <a:pPr lvl="1">
              <a:buFont typeface="Wingdings" pitchFamily="2" charset="2"/>
              <a:buChar char="Ø"/>
            </a:pPr>
            <a:r>
              <a:rPr lang="da-DK" dirty="0" smtClean="0">
                <a:solidFill>
                  <a:srgbClr val="000000"/>
                </a:solidFill>
              </a:rPr>
              <a:t>Fuel sourcing</a:t>
            </a:r>
          </a:p>
          <a:p>
            <a:pPr lvl="1">
              <a:buFont typeface="Wingdings" pitchFamily="2" charset="2"/>
              <a:buChar char="Ø"/>
            </a:pPr>
            <a:r>
              <a:rPr lang="da-DK" dirty="0" smtClean="0">
                <a:solidFill>
                  <a:srgbClr val="000000"/>
                </a:solidFill>
              </a:rPr>
              <a:t>Port incentive programs work!</a:t>
            </a:r>
          </a:p>
          <a:p>
            <a:pPr lvl="1">
              <a:buFont typeface="Wingdings" pitchFamily="2" charset="2"/>
              <a:buChar char="Ø"/>
            </a:pPr>
            <a:r>
              <a:rPr lang="da-DK" dirty="0" smtClean="0">
                <a:solidFill>
                  <a:srgbClr val="000000"/>
                </a:solidFill>
              </a:rPr>
              <a:t>Experience before the ECA</a:t>
            </a:r>
          </a:p>
          <a:p>
            <a:pPr lvl="1"/>
            <a:endParaRPr lang="da-DK" dirty="0" smtClean="0">
              <a:solidFill>
                <a:srgbClr val="000000"/>
              </a:solidFill>
            </a:endParaRPr>
          </a:p>
          <a:p>
            <a:pPr lvl="1">
              <a:buFont typeface="Wingdings" pitchFamily="2" charset="2"/>
              <a:buChar char="Ø"/>
            </a:pPr>
            <a:r>
              <a:rPr lang="da-DK" dirty="0" smtClean="0">
                <a:solidFill>
                  <a:srgbClr val="000000"/>
                </a:solidFill>
              </a:rPr>
              <a:t>Mandatory programs need to be enforced!</a:t>
            </a:r>
          </a:p>
        </p:txBody>
      </p:sp>
      <p:grpSp>
        <p:nvGrpSpPr>
          <p:cNvPr id="3" name="Group 12"/>
          <p:cNvGrpSpPr/>
          <p:nvPr/>
        </p:nvGrpSpPr>
        <p:grpSpPr>
          <a:xfrm>
            <a:off x="6467606" y="1584542"/>
            <a:ext cx="3861148" cy="2471804"/>
            <a:chOff x="4550499" y="2133600"/>
            <a:chExt cx="4406562" cy="2819400"/>
          </a:xfrm>
        </p:grpSpPr>
        <p:pic>
          <p:nvPicPr>
            <p:cNvPr id="7" name="Picture 14" descr="us-map.jpg"/>
            <p:cNvPicPr>
              <a:picLocks noChangeAspect="1"/>
            </p:cNvPicPr>
            <p:nvPr/>
          </p:nvPicPr>
          <p:blipFill>
            <a:blip r:embed="rId3" cstate="print"/>
            <a:srcRect l="12649" r="11676"/>
            <a:stretch>
              <a:fillRect/>
            </a:stretch>
          </p:blipFill>
          <p:spPr bwMode="auto">
            <a:xfrm>
              <a:off x="4550499" y="2133600"/>
              <a:ext cx="4406562" cy="2819400"/>
            </a:xfrm>
            <a:prstGeom prst="rect">
              <a:avLst/>
            </a:prstGeom>
            <a:noFill/>
            <a:ln w="9525">
              <a:noFill/>
              <a:miter lim="800000"/>
              <a:headEnd/>
              <a:tailEnd/>
            </a:ln>
          </p:spPr>
        </p:pic>
        <p:sp>
          <p:nvSpPr>
            <p:cNvPr id="8" name="5-Point Star 7"/>
            <p:cNvSpPr/>
            <p:nvPr/>
          </p:nvSpPr>
          <p:spPr bwMode="auto">
            <a:xfrm>
              <a:off x="5867400" y="2895600"/>
              <a:ext cx="228600" cy="228600"/>
            </a:xfrm>
            <a:prstGeom prst="star5">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
          <p:nvSpPr>
            <p:cNvPr id="9" name="5-Point Star 8"/>
            <p:cNvSpPr/>
            <p:nvPr/>
          </p:nvSpPr>
          <p:spPr bwMode="auto">
            <a:xfrm>
              <a:off x="5867400" y="3124200"/>
              <a:ext cx="228600" cy="228600"/>
            </a:xfrm>
            <a:prstGeom prst="star5">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
          <p:nvSpPr>
            <p:cNvPr id="10" name="5-Point Star 9"/>
            <p:cNvSpPr/>
            <p:nvPr/>
          </p:nvSpPr>
          <p:spPr bwMode="auto">
            <a:xfrm>
              <a:off x="5943600" y="3505200"/>
              <a:ext cx="228600" cy="228600"/>
            </a:xfrm>
            <a:prstGeom prst="star5">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
          <p:nvSpPr>
            <p:cNvPr id="11" name="5-Point Star 10"/>
            <p:cNvSpPr/>
            <p:nvPr/>
          </p:nvSpPr>
          <p:spPr bwMode="auto">
            <a:xfrm>
              <a:off x="6096000" y="3810000"/>
              <a:ext cx="228600" cy="228600"/>
            </a:xfrm>
            <a:prstGeom prst="star5">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
          <p:nvSpPr>
            <p:cNvPr id="12" name="5-Point Star 11"/>
            <p:cNvSpPr/>
            <p:nvPr/>
          </p:nvSpPr>
          <p:spPr bwMode="auto">
            <a:xfrm>
              <a:off x="7086600" y="4038600"/>
              <a:ext cx="228600" cy="228600"/>
            </a:xfrm>
            <a:prstGeom prst="star5">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grpSp>
      <p:grpSp>
        <p:nvGrpSpPr>
          <p:cNvPr id="4" name="Group 20"/>
          <p:cNvGrpSpPr/>
          <p:nvPr/>
        </p:nvGrpSpPr>
        <p:grpSpPr>
          <a:xfrm>
            <a:off x="10439369" y="2568883"/>
            <a:ext cx="1635719" cy="1277273"/>
            <a:chOff x="4712403" y="5105400"/>
            <a:chExt cx="1562657" cy="1400295"/>
          </a:xfrm>
        </p:grpSpPr>
        <p:sp>
          <p:nvSpPr>
            <p:cNvPr id="14" name="5-Point Star 13"/>
            <p:cNvSpPr/>
            <p:nvPr/>
          </p:nvSpPr>
          <p:spPr bwMode="auto">
            <a:xfrm>
              <a:off x="4724400" y="5146597"/>
              <a:ext cx="219136" cy="228600"/>
            </a:xfrm>
            <a:prstGeom prst="star5">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
          <p:nvSpPr>
            <p:cNvPr id="15" name="TextBox 14"/>
            <p:cNvSpPr txBox="1"/>
            <p:nvPr/>
          </p:nvSpPr>
          <p:spPr>
            <a:xfrm>
              <a:off x="4943537" y="5105400"/>
              <a:ext cx="1331523" cy="1400295"/>
            </a:xfrm>
            <a:prstGeom prst="rect">
              <a:avLst/>
            </a:prstGeom>
            <a:noFill/>
          </p:spPr>
          <p:txBody>
            <a:bodyPr wrap="square" rtlCol="0">
              <a:spAutoFit/>
            </a:bodyPr>
            <a:lstStyle/>
            <a:p>
              <a:r>
                <a:rPr lang="en-US" sz="1100" dirty="0" smtClean="0">
                  <a:solidFill>
                    <a:srgbClr val="000000"/>
                  </a:solidFill>
                </a:rPr>
                <a:t>at </a:t>
              </a:r>
              <a:r>
                <a:rPr lang="en-US" sz="1100" dirty="0">
                  <a:solidFill>
                    <a:srgbClr val="000000"/>
                  </a:solidFill>
                </a:rPr>
                <a:t>berth </a:t>
              </a:r>
              <a:endParaRPr lang="en-US" sz="1100" dirty="0" smtClean="0">
                <a:solidFill>
                  <a:srgbClr val="000000"/>
                </a:solidFill>
              </a:endParaRPr>
            </a:p>
            <a:p>
              <a:endParaRPr lang="en-US" sz="1100" dirty="0">
                <a:solidFill>
                  <a:srgbClr val="000000"/>
                </a:solidFill>
              </a:endParaRPr>
            </a:p>
            <a:p>
              <a:r>
                <a:rPr lang="en-US" sz="1100" dirty="0" smtClean="0">
                  <a:solidFill>
                    <a:srgbClr val="000000"/>
                  </a:solidFill>
                </a:rPr>
                <a:t>24nm </a:t>
              </a:r>
              <a:r>
                <a:rPr lang="en-US" sz="1100" dirty="0">
                  <a:solidFill>
                    <a:srgbClr val="000000"/>
                  </a:solidFill>
                </a:rPr>
                <a:t>from </a:t>
              </a:r>
              <a:r>
                <a:rPr lang="en-US" sz="1100" dirty="0" smtClean="0">
                  <a:solidFill>
                    <a:srgbClr val="000000"/>
                  </a:solidFill>
                </a:rPr>
                <a:t>port or coast </a:t>
              </a:r>
            </a:p>
            <a:p>
              <a:endParaRPr lang="en-US" sz="1100" dirty="0">
                <a:solidFill>
                  <a:srgbClr val="000000"/>
                </a:solidFill>
              </a:endParaRPr>
            </a:p>
            <a:p>
              <a:r>
                <a:rPr lang="en-US" sz="1100" dirty="0" smtClean="0">
                  <a:solidFill>
                    <a:srgbClr val="000000"/>
                  </a:solidFill>
                </a:rPr>
                <a:t>Demonstration, 24 nm from port</a:t>
              </a:r>
              <a:endParaRPr lang="en-US" sz="1100" dirty="0">
                <a:solidFill>
                  <a:srgbClr val="000000"/>
                </a:solidFill>
              </a:endParaRPr>
            </a:p>
          </p:txBody>
        </p:sp>
        <p:sp>
          <p:nvSpPr>
            <p:cNvPr id="19" name="5-Point Star 18"/>
            <p:cNvSpPr/>
            <p:nvPr/>
          </p:nvSpPr>
          <p:spPr bwMode="auto">
            <a:xfrm>
              <a:off x="4712403" y="5506312"/>
              <a:ext cx="219135" cy="228599"/>
            </a:xfrm>
            <a:prstGeom prst="star5">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grpSp>
      <p:pic>
        <p:nvPicPr>
          <p:cNvPr id="20" name="Picture 11" descr="http://maerskline.apmoller.net/Geographies/Regions/NAM/2011%20Image%20Library/APMT%20Pier%20400.png"/>
          <p:cNvPicPr>
            <a:picLocks noChangeAspect="1" noChangeArrowheads="1"/>
          </p:cNvPicPr>
          <p:nvPr/>
        </p:nvPicPr>
        <p:blipFill>
          <a:blip r:embed="rId4" cstate="screen"/>
          <a:srcRect/>
          <a:stretch>
            <a:fillRect/>
          </a:stretch>
        </p:blipFill>
        <p:spPr bwMode="auto">
          <a:xfrm>
            <a:off x="6442554" y="4181606"/>
            <a:ext cx="3886200" cy="2341848"/>
          </a:xfrm>
          <a:prstGeom prst="rect">
            <a:avLst/>
          </a:prstGeom>
          <a:noFill/>
        </p:spPr>
      </p:pic>
      <p:sp>
        <p:nvSpPr>
          <p:cNvPr id="22" name="5-Point Star 21"/>
          <p:cNvSpPr/>
          <p:nvPr/>
        </p:nvSpPr>
        <p:spPr bwMode="auto">
          <a:xfrm>
            <a:off x="9326673" y="3046964"/>
            <a:ext cx="229382" cy="208517"/>
          </a:xfrm>
          <a:prstGeom prst="star5">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
        <p:nvSpPr>
          <p:cNvPr id="23" name="5-Point Star 22"/>
          <p:cNvSpPr/>
          <p:nvPr/>
        </p:nvSpPr>
        <p:spPr bwMode="auto">
          <a:xfrm>
            <a:off x="8750448" y="3826013"/>
            <a:ext cx="229381" cy="208516"/>
          </a:xfrm>
          <a:prstGeom prst="star5">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
        <p:nvSpPr>
          <p:cNvPr id="24" name="5-Point Star 23"/>
          <p:cNvSpPr/>
          <p:nvPr/>
        </p:nvSpPr>
        <p:spPr bwMode="auto">
          <a:xfrm>
            <a:off x="10443546" y="3414743"/>
            <a:ext cx="229381" cy="208516"/>
          </a:xfrm>
          <a:prstGeom prst="star5">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fontAlgn="base">
              <a:lnSpc>
                <a:spcPct val="107000"/>
              </a:lnSpc>
              <a:spcBef>
                <a:spcPct val="0"/>
              </a:spcBef>
              <a:spcAft>
                <a:spcPct val="0"/>
              </a:spcAft>
            </a:pPr>
            <a:endParaRPr lang="en-US" sz="1400" dirty="0">
              <a:solidFill>
                <a:srgbClr val="000000"/>
              </a:solidFill>
            </a:endParaRPr>
          </a:p>
        </p:txBody>
      </p:sp>
    </p:spTree>
    <p:extLst>
      <p:ext uri="{BB962C8B-B14F-4D97-AF65-F5344CB8AC3E}">
        <p14:creationId xmlns:p14="http://schemas.microsoft.com/office/powerpoint/2010/main" val="2627272833"/>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270" y="631992"/>
            <a:ext cx="8328233" cy="968209"/>
          </a:xfrm>
        </p:spPr>
        <p:txBody>
          <a:bodyPr/>
          <a:lstStyle/>
          <a:p>
            <a:r>
              <a:rPr lang="en-US" dirty="0" smtClean="0">
                <a:solidFill>
                  <a:srgbClr val="000000"/>
                </a:solidFill>
              </a:rPr>
              <a:t>The fuel used in the </a:t>
            </a:r>
            <a:r>
              <a:rPr lang="en-US" dirty="0" smtClean="0"/>
              <a:t>Emissions Control Areas must be &lt;0.1% Sulfur in 2015.</a:t>
            </a:r>
            <a:br>
              <a:rPr lang="en-US" dirty="0" smtClean="0"/>
            </a:br>
            <a:endParaRPr lang="en-US" sz="2000" i="1" dirty="0">
              <a:solidFill>
                <a:srgbClr val="0070C0"/>
              </a:solidFill>
            </a:endParaRPr>
          </a:p>
        </p:txBody>
      </p:sp>
      <p:sp>
        <p:nvSpPr>
          <p:cNvPr id="18" name="TextBox 17"/>
          <p:cNvSpPr txBox="1"/>
          <p:nvPr/>
        </p:nvSpPr>
        <p:spPr>
          <a:xfrm>
            <a:off x="2133600" y="1752601"/>
            <a:ext cx="3831882" cy="4185755"/>
          </a:xfrm>
          <a:prstGeom prst="rect">
            <a:avLst/>
          </a:prstGeom>
          <a:noFill/>
          <a:ln>
            <a:noFill/>
          </a:ln>
        </p:spPr>
        <p:txBody>
          <a:bodyPr wrap="square" lIns="91432" tIns="45717" rIns="91432" bIns="45717" rtlCol="0">
            <a:spAutoFit/>
          </a:bodyPr>
          <a:lstStyle/>
          <a:p>
            <a:pPr lvl="1" defTabSz="914323"/>
            <a:endParaRPr lang="da-DK" sz="1600" dirty="0">
              <a:solidFill>
                <a:srgbClr val="000000"/>
              </a:solidFill>
            </a:endParaRPr>
          </a:p>
          <a:p>
            <a:pPr defTabSz="914323"/>
            <a:r>
              <a:rPr lang="en-US" b="1" i="1" dirty="0">
                <a:solidFill>
                  <a:srgbClr val="0070C0"/>
                </a:solidFill>
              </a:rPr>
              <a:t>The ECAs require 0.1%S</a:t>
            </a:r>
          </a:p>
          <a:p>
            <a:pPr marL="285750" indent="-285750" defTabSz="914323">
              <a:buFont typeface="Arial" panose="020B0604020202020204" pitchFamily="34" charset="0"/>
              <a:buChar char="•"/>
            </a:pPr>
            <a:r>
              <a:rPr lang="en-US" sz="1600" b="1" i="1" dirty="0">
                <a:solidFill>
                  <a:srgbClr val="0070C0"/>
                </a:solidFill>
              </a:rPr>
              <a:t> </a:t>
            </a:r>
            <a:r>
              <a:rPr lang="en-US" sz="1600" i="1" dirty="0">
                <a:solidFill>
                  <a:srgbClr val="0070C0"/>
                </a:solidFill>
              </a:rPr>
              <a:t>MDO, MGO or “ULSFO” </a:t>
            </a:r>
          </a:p>
          <a:p>
            <a:pPr marL="285750" indent="-285750" defTabSz="914323">
              <a:buFont typeface="Arial" panose="020B0604020202020204" pitchFamily="34" charset="0"/>
              <a:buChar char="•"/>
            </a:pPr>
            <a:r>
              <a:rPr lang="en-US" sz="1600" i="1" dirty="0">
                <a:solidFill>
                  <a:srgbClr val="0070C0"/>
                </a:solidFill>
              </a:rPr>
              <a:t>California is stricter.</a:t>
            </a:r>
          </a:p>
          <a:p>
            <a:pPr defTabSz="914323"/>
            <a:endParaRPr lang="en-US" i="1" dirty="0">
              <a:solidFill>
                <a:srgbClr val="0070C0"/>
              </a:solidFill>
            </a:endParaRPr>
          </a:p>
          <a:p>
            <a:pPr defTabSz="914323"/>
            <a:r>
              <a:rPr lang="en-US" i="1" dirty="0">
                <a:solidFill>
                  <a:srgbClr val="0070C0"/>
                </a:solidFill>
              </a:rPr>
              <a:t>Work done to prepare:</a:t>
            </a:r>
          </a:p>
          <a:p>
            <a:pPr marL="285750" indent="-285750" defTabSz="914323">
              <a:buFont typeface="Arial" panose="020B0604020202020204" pitchFamily="34" charset="0"/>
              <a:buChar char="•"/>
            </a:pPr>
            <a:r>
              <a:rPr lang="en-US" sz="1600" i="1" dirty="0">
                <a:solidFill>
                  <a:srgbClr val="0070C0"/>
                </a:solidFill>
              </a:rPr>
              <a:t>Additional MGO fuel capacity </a:t>
            </a:r>
          </a:p>
          <a:p>
            <a:pPr marL="285750" indent="-285750" defTabSz="914323">
              <a:buFont typeface="Arial" panose="020B0604020202020204" pitchFamily="34" charset="0"/>
              <a:buChar char="•"/>
            </a:pPr>
            <a:r>
              <a:rPr lang="en-US" sz="1600" i="1" dirty="0">
                <a:solidFill>
                  <a:srgbClr val="0070C0"/>
                </a:solidFill>
              </a:rPr>
              <a:t>Vessel tank changes and cleaning </a:t>
            </a:r>
          </a:p>
          <a:p>
            <a:pPr marL="285750" indent="-285750" defTabSz="914323">
              <a:buFont typeface="Arial" panose="020B0604020202020204" pitchFamily="34" charset="0"/>
              <a:buChar char="•"/>
            </a:pPr>
            <a:r>
              <a:rPr lang="en-US" sz="1600" i="1" dirty="0">
                <a:solidFill>
                  <a:srgbClr val="0070C0"/>
                </a:solidFill>
              </a:rPr>
              <a:t>Fuel inventory management </a:t>
            </a:r>
          </a:p>
          <a:p>
            <a:pPr lvl="1" defTabSz="914323">
              <a:buFont typeface="Wingdings" pitchFamily="2" charset="2"/>
              <a:buChar char="Ø"/>
            </a:pPr>
            <a:endParaRPr lang="en-US" sz="1600" i="1" dirty="0">
              <a:solidFill>
                <a:srgbClr val="0070C0"/>
              </a:solidFill>
            </a:endParaRPr>
          </a:p>
          <a:p>
            <a:pPr defTabSz="914323"/>
            <a:r>
              <a:rPr lang="en-US" i="1" dirty="0">
                <a:solidFill>
                  <a:srgbClr val="0070C0"/>
                </a:solidFill>
              </a:rPr>
              <a:t>Internationally</a:t>
            </a:r>
          </a:p>
          <a:p>
            <a:pPr marL="285750" indent="-285750" defTabSz="914323">
              <a:buFont typeface="Arial" panose="020B0604020202020204" pitchFamily="34" charset="0"/>
              <a:buChar char="•"/>
            </a:pPr>
            <a:r>
              <a:rPr lang="en-US" sz="1600" i="1" dirty="0">
                <a:solidFill>
                  <a:srgbClr val="0070C0"/>
                </a:solidFill>
              </a:rPr>
              <a:t>China implementing local ECAs </a:t>
            </a:r>
          </a:p>
          <a:p>
            <a:pPr marL="285750" indent="-285750" defTabSz="914323">
              <a:buFont typeface="Arial" panose="020B0604020202020204" pitchFamily="34" charset="0"/>
              <a:buChar char="•"/>
            </a:pPr>
            <a:r>
              <a:rPr lang="en-US" sz="1600" i="1" dirty="0">
                <a:solidFill>
                  <a:srgbClr val="0070C0"/>
                </a:solidFill>
              </a:rPr>
              <a:t>Mexico ECA analysis is underway</a:t>
            </a:r>
          </a:p>
          <a:p>
            <a:pPr lvl="1" defTabSz="914323">
              <a:buFont typeface="Wingdings" pitchFamily="2" charset="2"/>
              <a:buChar char="Ø"/>
            </a:pPr>
            <a:endParaRPr lang="en-US" i="1" dirty="0">
              <a:solidFill>
                <a:srgbClr val="0070C0"/>
              </a:solidFill>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23814" y="4648200"/>
            <a:ext cx="3544186" cy="15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descr="http://www.maerskline.com/~/media/maersk-line/Countries/int/newsarticle/ECA_EU_NA_2.png"/>
          <p:cNvPicPr/>
          <p:nvPr/>
        </p:nvPicPr>
        <p:blipFill>
          <a:blip r:embed="rId4">
            <a:extLst>
              <a:ext uri="{28A0092B-C50C-407E-A947-70E740481C1C}">
                <a14:useLocalDpi xmlns:a14="http://schemas.microsoft.com/office/drawing/2010/main" val="0"/>
              </a:ext>
            </a:extLst>
          </a:blip>
          <a:srcRect/>
          <a:stretch>
            <a:fillRect/>
          </a:stretch>
        </p:blipFill>
        <p:spPr bwMode="auto">
          <a:xfrm>
            <a:off x="6248400" y="1981200"/>
            <a:ext cx="4267200" cy="2057400"/>
          </a:xfrm>
          <a:prstGeom prst="rect">
            <a:avLst/>
          </a:prstGeom>
          <a:noFill/>
          <a:ln>
            <a:noFill/>
          </a:ln>
        </p:spPr>
      </p:pic>
      <p:pic>
        <p:nvPicPr>
          <p:cNvPr id="7" name="Picture 2" descr="C:\Users\LBK002\AppData\Local\Microsoft\Windows\Temporary Internet Files\Content.IE5\VVQOY0Q6\MC900439808[1].png"/>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rot="-2100000">
            <a:off x="8450534" y="3595901"/>
            <a:ext cx="533400" cy="1469953"/>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3"/>
          <p:cNvSpPr txBox="1">
            <a:spLocks/>
          </p:cNvSpPr>
          <p:nvPr/>
        </p:nvSpPr>
        <p:spPr bwMode="auto">
          <a:xfrm>
            <a:off x="1793875" y="6400801"/>
            <a:ext cx="48418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lnSpc>
                <a:spcPct val="111000"/>
              </a:lnSpc>
              <a:spcBef>
                <a:spcPct val="0"/>
              </a:spcBef>
              <a:spcAft>
                <a:spcPct val="0"/>
              </a:spcAft>
            </a:pPr>
            <a:fld id="{10840492-A1E4-4B62-B294-ECF6DAFC113A}" type="slidenum">
              <a:rPr lang="en-GB" sz="900" b="1">
                <a:solidFill>
                  <a:srgbClr val="000000"/>
                </a:solidFill>
                <a:latin typeface="Verdana" pitchFamily="34" charset="0"/>
                <a:cs typeface="Arial" charset="0"/>
              </a:rPr>
              <a:pPr eaLnBrk="1" fontAlgn="base" hangingPunct="1">
                <a:lnSpc>
                  <a:spcPct val="111000"/>
                </a:lnSpc>
                <a:spcBef>
                  <a:spcPct val="0"/>
                </a:spcBef>
                <a:spcAft>
                  <a:spcPct val="0"/>
                </a:spcAft>
              </a:pPr>
              <a:t>14</a:t>
            </a:fld>
            <a:endParaRPr lang="en-GB" sz="900" b="1" dirty="0">
              <a:solidFill>
                <a:srgbClr val="000000"/>
              </a:solidFill>
              <a:latin typeface="Verdana" pitchFamily="34" charset="0"/>
              <a:cs typeface="Arial" charset="0"/>
            </a:endParaRPr>
          </a:p>
        </p:txBody>
      </p:sp>
    </p:spTree>
    <p:extLst>
      <p:ext uri="{BB962C8B-B14F-4D97-AF65-F5344CB8AC3E}">
        <p14:creationId xmlns:p14="http://schemas.microsoft.com/office/powerpoint/2010/main" val="3702399177"/>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3775" y="487755"/>
            <a:ext cx="9474788" cy="589483"/>
          </a:xfrm>
        </p:spPr>
        <p:txBody>
          <a:bodyPr/>
          <a:lstStyle/>
          <a:p>
            <a:r>
              <a:rPr lang="en-US" dirty="0"/>
              <a:t>How is the ECA different from other fuel programs? </a:t>
            </a:r>
          </a:p>
        </p:txBody>
      </p:sp>
      <p:sp>
        <p:nvSpPr>
          <p:cNvPr id="3" name="Content Placeholder 2"/>
          <p:cNvSpPr>
            <a:spLocks noGrp="1"/>
          </p:cNvSpPr>
          <p:nvPr>
            <p:ph idx="1"/>
          </p:nvPr>
        </p:nvSpPr>
        <p:spPr>
          <a:xfrm>
            <a:off x="1189973" y="1277308"/>
            <a:ext cx="6201427" cy="4597400"/>
          </a:xfrm>
        </p:spPr>
        <p:txBody>
          <a:bodyPr/>
          <a:lstStyle/>
          <a:p>
            <a:pPr>
              <a:buClrTx/>
            </a:pPr>
            <a:r>
              <a:rPr lang="en-US" dirty="0"/>
              <a:t>Fuel </a:t>
            </a:r>
          </a:p>
          <a:p>
            <a:pPr lvl="2">
              <a:buClrTx/>
            </a:pPr>
            <a:r>
              <a:rPr lang="en-US" sz="1500" dirty="0"/>
              <a:t>California requires MGO/MDO within 24nm </a:t>
            </a:r>
            <a:endParaRPr lang="en-US" sz="1500" dirty="0" smtClean="0"/>
          </a:p>
          <a:p>
            <a:pPr lvl="3"/>
            <a:r>
              <a:rPr lang="en-US" sz="1500" dirty="0" smtClean="0"/>
              <a:t>Other </a:t>
            </a:r>
            <a:r>
              <a:rPr lang="en-US" sz="1500" dirty="0"/>
              <a:t>fuels &lt;0.1% </a:t>
            </a:r>
            <a:r>
              <a:rPr lang="en-US" sz="1500" dirty="0" smtClean="0"/>
              <a:t>or scrubber use allowed with </a:t>
            </a:r>
            <a:r>
              <a:rPr lang="en-US" sz="1500" dirty="0"/>
              <a:t>an experimental exemption.</a:t>
            </a:r>
          </a:p>
          <a:p>
            <a:pPr lvl="2">
              <a:buClrTx/>
            </a:pPr>
            <a:endParaRPr lang="en-US" dirty="0" smtClean="0"/>
          </a:p>
          <a:p>
            <a:pPr>
              <a:buClrTx/>
            </a:pPr>
            <a:r>
              <a:rPr lang="en-US" dirty="0"/>
              <a:t>Area covered</a:t>
            </a:r>
          </a:p>
          <a:p>
            <a:pPr lvl="2">
              <a:buClrTx/>
            </a:pPr>
            <a:r>
              <a:rPr lang="en-US" sz="1500" dirty="0"/>
              <a:t>California zone is 24 nm from the coast vs. 200 nm for ECA.</a:t>
            </a:r>
          </a:p>
          <a:p>
            <a:pPr lvl="2">
              <a:buClrTx/>
            </a:pPr>
            <a:endParaRPr lang="en-US" dirty="0" smtClean="0"/>
          </a:p>
          <a:p>
            <a:pPr>
              <a:buClrTx/>
            </a:pPr>
            <a:r>
              <a:rPr lang="en-US" dirty="0"/>
              <a:t>Enforcement </a:t>
            </a:r>
          </a:p>
          <a:p>
            <a:pPr lvl="1">
              <a:buClrTx/>
            </a:pPr>
            <a:r>
              <a:rPr lang="en-US" sz="1500" dirty="0"/>
              <a:t>NAM ECA is enforced by the US Coast Guard, the US EPA and Canada. </a:t>
            </a:r>
          </a:p>
          <a:p>
            <a:pPr lvl="1">
              <a:buClrTx/>
            </a:pPr>
            <a:r>
              <a:rPr lang="en-US" sz="1500" dirty="0"/>
              <a:t>CARB enforces the California Fuel rule</a:t>
            </a:r>
            <a:r>
              <a:rPr lang="en-US" sz="1500" dirty="0" smtClean="0"/>
              <a:t>.</a:t>
            </a:r>
          </a:p>
          <a:p>
            <a:pPr lvl="2"/>
            <a:r>
              <a:rPr lang="en-US" sz="1300" dirty="0" smtClean="0"/>
              <a:t>Vessel inspections with fuel sampling</a:t>
            </a:r>
            <a:endParaRPr lang="en-US" sz="1300" dirty="0"/>
          </a:p>
        </p:txBody>
      </p:sp>
      <p:pic>
        <p:nvPicPr>
          <p:cNvPr id="40963" name="Picture 3"/>
          <p:cNvPicPr>
            <a:picLocks noChangeAspect="1" noChangeArrowheads="1"/>
          </p:cNvPicPr>
          <p:nvPr/>
        </p:nvPicPr>
        <p:blipFill>
          <a:blip r:embed="rId2" cstate="print"/>
          <a:srcRect/>
          <a:stretch>
            <a:fillRect/>
          </a:stretch>
        </p:blipFill>
        <p:spPr bwMode="auto">
          <a:xfrm>
            <a:off x="7903904" y="1524000"/>
            <a:ext cx="2383096" cy="4590026"/>
          </a:xfrm>
          <a:prstGeom prst="rect">
            <a:avLst/>
          </a:prstGeom>
          <a:noFill/>
          <a:ln w="9525">
            <a:noFill/>
            <a:miter lim="800000"/>
            <a:headEnd/>
            <a:tailEnd/>
          </a:ln>
        </p:spPr>
      </p:pic>
    </p:spTree>
    <p:extLst>
      <p:ext uri="{BB962C8B-B14F-4D97-AF65-F5344CB8AC3E}">
        <p14:creationId xmlns:p14="http://schemas.microsoft.com/office/powerpoint/2010/main" val="28074269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7662" y="355192"/>
            <a:ext cx="6250668" cy="855659"/>
          </a:xfrm>
        </p:spPr>
        <p:txBody>
          <a:bodyPr>
            <a:normAutofit fontScale="90000"/>
          </a:bodyPr>
          <a:lstStyle/>
          <a:p>
            <a:r>
              <a:rPr lang="en-US" sz="2200" dirty="0"/>
              <a:t/>
            </a:r>
            <a:br>
              <a:rPr lang="en-US" sz="2200" dirty="0"/>
            </a:br>
            <a:r>
              <a:rPr lang="en-US" sz="3100" dirty="0" smtClean="0">
                <a:latin typeface="+mn-lt"/>
              </a:rPr>
              <a:t>Reducing emissions at berth</a:t>
            </a:r>
            <a:r>
              <a:rPr lang="en-US" sz="2400" dirty="0"/>
              <a:t/>
            </a:r>
            <a:br>
              <a:rPr lang="en-US" sz="2400" dirty="0"/>
            </a:br>
            <a:endParaRPr lang="en-US" sz="2400" dirty="0"/>
          </a:p>
        </p:txBody>
      </p:sp>
      <p:sp>
        <p:nvSpPr>
          <p:cNvPr id="3" name="Content Placeholder 2"/>
          <p:cNvSpPr>
            <a:spLocks noGrp="1"/>
          </p:cNvSpPr>
          <p:nvPr>
            <p:ph idx="1"/>
          </p:nvPr>
        </p:nvSpPr>
        <p:spPr>
          <a:xfrm>
            <a:off x="1261751" y="1290918"/>
            <a:ext cx="4170854" cy="4697508"/>
          </a:xfrm>
          <a:solidFill>
            <a:schemeClr val="bg2">
              <a:lumMod val="20000"/>
              <a:lumOff val="80000"/>
            </a:schemeClr>
          </a:solidFill>
          <a:ln>
            <a:solidFill>
              <a:schemeClr val="bg2">
                <a:lumMod val="75000"/>
              </a:schemeClr>
            </a:solidFill>
          </a:ln>
        </p:spPr>
        <p:txBody>
          <a:bodyPr/>
          <a:lstStyle/>
          <a:p>
            <a:pPr marL="206375" lvl="1" indent="-206375">
              <a:lnSpc>
                <a:spcPct val="111000"/>
              </a:lnSpc>
            </a:pPr>
            <a:endParaRPr lang="en-US" b="1" dirty="0"/>
          </a:p>
          <a:p>
            <a:pPr marL="206375" lvl="1" indent="-206375">
              <a:lnSpc>
                <a:spcPct val="111000"/>
              </a:lnSpc>
            </a:pPr>
            <a:r>
              <a:rPr lang="en-US" b="1" dirty="0" smtClean="0"/>
              <a:t>Shore Power (“cold ironing”) </a:t>
            </a:r>
          </a:p>
          <a:p>
            <a:pPr marL="206375" lvl="1" indent="-206375">
              <a:lnSpc>
                <a:spcPct val="111000"/>
              </a:lnSpc>
            </a:pPr>
            <a:r>
              <a:rPr lang="en-US" b="1" dirty="0" smtClean="0"/>
              <a:t>Reducing </a:t>
            </a:r>
            <a:r>
              <a:rPr lang="en-US" b="1" dirty="0"/>
              <a:t>vessel </a:t>
            </a:r>
            <a:r>
              <a:rPr lang="en-US" b="1" dirty="0" smtClean="0"/>
              <a:t>NOx and PM emissions at berth </a:t>
            </a:r>
            <a:r>
              <a:rPr lang="en-US" b="1" dirty="0"/>
              <a:t>in California. </a:t>
            </a:r>
          </a:p>
          <a:p>
            <a:pPr marL="220662" lvl="2" indent="0">
              <a:lnSpc>
                <a:spcPct val="111000"/>
              </a:lnSpc>
              <a:buNone/>
            </a:pPr>
            <a:r>
              <a:rPr lang="en-US" sz="1600" dirty="0"/>
              <a:t>Quarterly fleet average </a:t>
            </a:r>
            <a:r>
              <a:rPr lang="en-US" sz="1600" dirty="0" smtClean="0"/>
              <a:t>minimum reduction in each port:</a:t>
            </a:r>
            <a:endParaRPr lang="en-US" sz="1600" dirty="0"/>
          </a:p>
          <a:p>
            <a:pPr marL="0" lvl="1" indent="0">
              <a:lnSpc>
                <a:spcPct val="111000"/>
              </a:lnSpc>
              <a:buNone/>
            </a:pPr>
            <a:r>
              <a:rPr lang="en-US" b="1" dirty="0"/>
              <a:t>	</a:t>
            </a:r>
            <a:r>
              <a:rPr lang="en-US" dirty="0"/>
              <a:t>2014-16:    &gt;50% </a:t>
            </a:r>
          </a:p>
          <a:p>
            <a:pPr lvl="2">
              <a:buNone/>
            </a:pPr>
            <a:r>
              <a:rPr lang="en-US" sz="1600" dirty="0"/>
              <a:t>		2017-19:    &gt;70%	   </a:t>
            </a:r>
          </a:p>
          <a:p>
            <a:pPr lvl="2">
              <a:buNone/>
            </a:pPr>
            <a:r>
              <a:rPr lang="en-US" sz="1600" dirty="0"/>
              <a:t>		2020:         &gt;80%</a:t>
            </a:r>
          </a:p>
          <a:p>
            <a:endParaRPr lang="en-US" sz="1000" b="1" dirty="0"/>
          </a:p>
          <a:p>
            <a:pPr marL="180000" lvl="1"/>
            <a:r>
              <a:rPr lang="en-US" b="1" dirty="0" smtClean="0"/>
              <a:t>Results </a:t>
            </a:r>
            <a:r>
              <a:rPr lang="en-US" b="1" dirty="0"/>
              <a:t>must be </a:t>
            </a:r>
            <a:r>
              <a:rPr lang="en-US" b="1" dirty="0" smtClean="0"/>
              <a:t>reported and certified annually</a:t>
            </a:r>
            <a:endParaRPr lang="en-US" b="1" dirty="0"/>
          </a:p>
          <a:p>
            <a:endParaRPr lang="en-US" sz="1600" b="1" dirty="0"/>
          </a:p>
          <a:p>
            <a:pPr marL="207963" lvl="1" indent="0">
              <a:buNone/>
            </a:pPr>
            <a:endParaRPr lang="en-US" dirty="0"/>
          </a:p>
          <a:p>
            <a:pPr marL="207963" lvl="1" indent="0">
              <a:buNone/>
            </a:pPr>
            <a:endParaRPr lang="en-US" dirty="0"/>
          </a:p>
        </p:txBody>
      </p:sp>
      <p:sp>
        <p:nvSpPr>
          <p:cNvPr id="6" name="Slide Number Placeholder 3"/>
          <p:cNvSpPr txBox="1">
            <a:spLocks/>
          </p:cNvSpPr>
          <p:nvPr/>
        </p:nvSpPr>
        <p:spPr bwMode="auto">
          <a:xfrm>
            <a:off x="1793875" y="6400801"/>
            <a:ext cx="48418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lnSpc>
                <a:spcPct val="111000"/>
              </a:lnSpc>
              <a:spcBef>
                <a:spcPct val="0"/>
              </a:spcBef>
              <a:spcAft>
                <a:spcPct val="0"/>
              </a:spcAft>
            </a:pPr>
            <a:fld id="{10840492-A1E4-4B62-B294-ECF6DAFC113A}" type="slidenum">
              <a:rPr lang="en-GB" sz="900" b="1">
                <a:solidFill>
                  <a:srgbClr val="000000"/>
                </a:solidFill>
                <a:latin typeface="Verdana" pitchFamily="34" charset="0"/>
                <a:cs typeface="Arial" charset="0"/>
              </a:rPr>
              <a:pPr eaLnBrk="1" fontAlgn="base" hangingPunct="1">
                <a:lnSpc>
                  <a:spcPct val="111000"/>
                </a:lnSpc>
                <a:spcBef>
                  <a:spcPct val="0"/>
                </a:spcBef>
                <a:spcAft>
                  <a:spcPct val="0"/>
                </a:spcAft>
              </a:pPr>
              <a:t>16</a:t>
            </a:fld>
            <a:endParaRPr lang="en-GB" sz="900" b="1" dirty="0">
              <a:solidFill>
                <a:srgbClr val="000000"/>
              </a:solidFill>
              <a:latin typeface="Verdana" pitchFamily="34" charset="0"/>
              <a:cs typeface="Arial" charset="0"/>
            </a:endParaRP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8938" b="19061"/>
          <a:stretch/>
        </p:blipFill>
        <p:spPr>
          <a:xfrm>
            <a:off x="6503311" y="850120"/>
            <a:ext cx="5330101" cy="5138306"/>
          </a:xfrm>
          <a:prstGeom prst="rect">
            <a:avLst/>
          </a:prstGeom>
        </p:spPr>
      </p:pic>
    </p:spTree>
    <p:extLst>
      <p:ext uri="{BB962C8B-B14F-4D97-AF65-F5344CB8AC3E}">
        <p14:creationId xmlns:p14="http://schemas.microsoft.com/office/powerpoint/2010/main" val="42128659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37586" y="287342"/>
            <a:ext cx="4911724" cy="1008059"/>
          </a:xfrm>
        </p:spPr>
        <p:txBody>
          <a:bodyPr>
            <a:normAutofit/>
          </a:bodyPr>
          <a:lstStyle/>
          <a:p>
            <a:r>
              <a:rPr lang="en-GB" dirty="0" smtClean="0"/>
              <a:t>Shore power alternatives </a:t>
            </a:r>
            <a:endParaRPr lang="en-GB" dirty="0"/>
          </a:p>
        </p:txBody>
      </p:sp>
      <p:sp>
        <p:nvSpPr>
          <p:cNvPr id="6" name="TextBox 5"/>
          <p:cNvSpPr txBox="1"/>
          <p:nvPr/>
        </p:nvSpPr>
        <p:spPr>
          <a:xfrm>
            <a:off x="6956612" y="2384608"/>
            <a:ext cx="3818964" cy="2246769"/>
          </a:xfrm>
          <a:prstGeom prst="rect">
            <a:avLst/>
          </a:prstGeom>
          <a:noFill/>
        </p:spPr>
        <p:txBody>
          <a:bodyPr wrap="square" rtlCol="0">
            <a:spAutoFit/>
          </a:bodyPr>
          <a:lstStyle/>
          <a:p>
            <a:pPr marL="285750" indent="-285750">
              <a:buFont typeface="Arial" panose="020B0604020202020204" pitchFamily="34" charset="0"/>
              <a:buChar char="•"/>
            </a:pPr>
            <a:r>
              <a:rPr lang="en-US" sz="2000" dirty="0"/>
              <a:t>Barge-mounted </a:t>
            </a:r>
            <a:r>
              <a:rPr lang="en-US" sz="2000" dirty="0" smtClean="0"/>
              <a:t>stack gas treatment systems require </a:t>
            </a:r>
            <a:r>
              <a:rPr lang="en-US" sz="2000" dirty="0"/>
              <a:t>no change to the vessel</a:t>
            </a:r>
          </a:p>
          <a:p>
            <a:endParaRPr lang="en-US" sz="2000" dirty="0"/>
          </a:p>
          <a:p>
            <a:pPr marL="285750" indent="-285750">
              <a:buFont typeface="Arial" panose="020B0604020202020204" pitchFamily="34" charset="0"/>
              <a:buChar char="•"/>
            </a:pPr>
            <a:r>
              <a:rPr lang="en-US" sz="2000" dirty="0" smtClean="0"/>
              <a:t>California has </a:t>
            </a:r>
            <a:r>
              <a:rPr lang="en-US" sz="2000" dirty="0"/>
              <a:t>approved two alternative </a:t>
            </a:r>
            <a:r>
              <a:rPr lang="en-US" sz="2000" dirty="0" smtClean="0"/>
              <a:t>systems </a:t>
            </a:r>
            <a:endParaRPr lang="en-US" sz="2000" dirty="0"/>
          </a:p>
        </p:txBody>
      </p:sp>
      <p:sp>
        <p:nvSpPr>
          <p:cNvPr id="7" name="Slide Number Placeholder 3"/>
          <p:cNvSpPr txBox="1">
            <a:spLocks/>
          </p:cNvSpPr>
          <p:nvPr/>
        </p:nvSpPr>
        <p:spPr bwMode="auto">
          <a:xfrm>
            <a:off x="1793875" y="6400801"/>
            <a:ext cx="48418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lnSpc>
                <a:spcPct val="111000"/>
              </a:lnSpc>
              <a:spcBef>
                <a:spcPct val="0"/>
              </a:spcBef>
              <a:spcAft>
                <a:spcPct val="0"/>
              </a:spcAft>
            </a:pPr>
            <a:fld id="{10840492-A1E4-4B62-B294-ECF6DAFC113A}" type="slidenum">
              <a:rPr lang="en-GB" sz="900" b="1">
                <a:solidFill>
                  <a:srgbClr val="000000"/>
                </a:solidFill>
                <a:latin typeface="Verdana" pitchFamily="34" charset="0"/>
                <a:cs typeface="Arial" charset="0"/>
              </a:rPr>
              <a:pPr eaLnBrk="1" fontAlgn="base" hangingPunct="1">
                <a:lnSpc>
                  <a:spcPct val="111000"/>
                </a:lnSpc>
                <a:spcBef>
                  <a:spcPct val="0"/>
                </a:spcBef>
                <a:spcAft>
                  <a:spcPct val="0"/>
                </a:spcAft>
              </a:pPr>
              <a:t>17</a:t>
            </a:fld>
            <a:endParaRPr lang="en-GB" sz="900" b="1" dirty="0">
              <a:solidFill>
                <a:srgbClr val="000000"/>
              </a:solidFill>
              <a:latin typeface="Verdana" pitchFamily="34" charset="0"/>
              <a:cs typeface="Arial" charset="0"/>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13330"/>
          <a:stretch/>
        </p:blipFill>
        <p:spPr>
          <a:xfrm>
            <a:off x="727266" y="502030"/>
            <a:ext cx="5143500" cy="5943600"/>
          </a:xfrm>
          <a:prstGeom prst="rect">
            <a:avLst/>
          </a:prstGeom>
        </p:spPr>
      </p:pic>
    </p:spTree>
    <p:extLst>
      <p:ext uri="{BB962C8B-B14F-4D97-AF65-F5344CB8AC3E}">
        <p14:creationId xmlns:p14="http://schemas.microsoft.com/office/powerpoint/2010/main" val="41199857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15" y="487755"/>
            <a:ext cx="10880296" cy="765398"/>
          </a:xfrm>
        </p:spPr>
        <p:txBody>
          <a:bodyPr/>
          <a:lstStyle/>
          <a:p>
            <a:r>
              <a:rPr lang="da-DK" dirty="0" smtClean="0"/>
              <a:t>Enforcement is essential to maintain </a:t>
            </a:r>
            <a:r>
              <a:rPr lang="da-DK" dirty="0"/>
              <a:t>a level playing field.</a:t>
            </a:r>
            <a:endParaRPr lang="da-DK" dirty="0"/>
          </a:p>
        </p:txBody>
      </p:sp>
      <p:pic>
        <p:nvPicPr>
          <p:cNvPr id="102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300681" y="1691014"/>
            <a:ext cx="5544118" cy="3695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442592" y="1582341"/>
            <a:ext cx="5394538" cy="4339650"/>
          </a:xfrm>
          <a:prstGeom prst="rect">
            <a:avLst/>
          </a:prstGeom>
        </p:spPr>
        <p:txBody>
          <a:bodyPr wrap="square">
            <a:spAutoFit/>
          </a:bodyPr>
          <a:lstStyle/>
          <a:p>
            <a:pPr marL="285750" indent="-285750">
              <a:buFont typeface="Arial" panose="020B0604020202020204" pitchFamily="34" charset="0"/>
              <a:buChar char="•"/>
            </a:pPr>
            <a:r>
              <a:rPr lang="en-US" dirty="0"/>
              <a:t>Robust Enforcement and proper deterrents ensure compliance across the shipping industry</a:t>
            </a:r>
          </a:p>
          <a:p>
            <a:pPr marL="742950" lvl="1" indent="-285750">
              <a:buFont typeface="Arial" panose="020B0604020202020204" pitchFamily="34" charset="0"/>
              <a:buChar char="•"/>
            </a:pPr>
            <a:r>
              <a:rPr lang="en-US" sz="1600" dirty="0">
                <a:solidFill>
                  <a:schemeClr val="accent1">
                    <a:lumMod val="75000"/>
                  </a:schemeClr>
                </a:solidFill>
              </a:rPr>
              <a:t>Without enforcement the good are punished and the bad are </a:t>
            </a:r>
            <a:r>
              <a:rPr lang="en-US" sz="1600" dirty="0" smtClean="0">
                <a:solidFill>
                  <a:schemeClr val="accent1">
                    <a:lumMod val="75000"/>
                  </a:schemeClr>
                </a:solidFill>
              </a:rPr>
              <a:t>rewarded</a:t>
            </a:r>
          </a:p>
          <a:p>
            <a:pPr lvl="1"/>
            <a:endParaRPr lang="en-US" dirty="0"/>
          </a:p>
          <a:p>
            <a:pPr marL="285750" indent="-285750">
              <a:buFont typeface="Arial" panose="020B0604020202020204" pitchFamily="34" charset="0"/>
              <a:buChar char="•"/>
            </a:pPr>
            <a:r>
              <a:rPr lang="en-US" dirty="0"/>
              <a:t>Robust Enforcement protects the Ocean environment and human health </a:t>
            </a:r>
          </a:p>
          <a:p>
            <a:pPr marL="742950" lvl="1" indent="-285750">
              <a:buFont typeface="Arial" panose="020B0604020202020204" pitchFamily="34" charset="0"/>
              <a:buChar char="•"/>
            </a:pPr>
            <a:r>
              <a:rPr lang="en-US" sz="1600" dirty="0">
                <a:solidFill>
                  <a:schemeClr val="accent1">
                    <a:lumMod val="75000"/>
                  </a:schemeClr>
                </a:solidFill>
              </a:rPr>
              <a:t>Without enforcement the full benefit of regulations is not </a:t>
            </a:r>
            <a:r>
              <a:rPr lang="en-US" sz="1600" dirty="0" smtClean="0">
                <a:solidFill>
                  <a:schemeClr val="accent1">
                    <a:lumMod val="75000"/>
                  </a:schemeClr>
                </a:solidFill>
              </a:rPr>
              <a:t>realized </a:t>
            </a:r>
          </a:p>
          <a:p>
            <a:pPr lvl="1"/>
            <a:endParaRPr lang="en-US" dirty="0"/>
          </a:p>
          <a:p>
            <a:pPr marL="285750" indent="-285750">
              <a:buFont typeface="Arial" panose="020B0604020202020204" pitchFamily="34" charset="0"/>
              <a:buChar char="•"/>
            </a:pPr>
            <a:r>
              <a:rPr lang="en-US" dirty="0"/>
              <a:t>Robust Enforcement shows investors and innovators that there will be a market; solutions will be created  </a:t>
            </a:r>
          </a:p>
          <a:p>
            <a:pPr marL="742950" lvl="1" indent="-285750">
              <a:buFont typeface="Arial" panose="020B0604020202020204" pitchFamily="34" charset="0"/>
              <a:buChar char="•"/>
            </a:pPr>
            <a:r>
              <a:rPr lang="en-US" sz="1600" dirty="0" smtClean="0">
                <a:solidFill>
                  <a:schemeClr val="accent1">
                    <a:lumMod val="75000"/>
                  </a:schemeClr>
                </a:solidFill>
              </a:rPr>
              <a:t>Weak </a:t>
            </a:r>
            <a:r>
              <a:rPr lang="en-US" sz="1600" dirty="0">
                <a:solidFill>
                  <a:schemeClr val="accent1">
                    <a:lumMod val="75000"/>
                  </a:schemeClr>
                </a:solidFill>
              </a:rPr>
              <a:t>enforcement deters investors and hampers innovation</a:t>
            </a:r>
          </a:p>
        </p:txBody>
      </p:sp>
    </p:spTree>
    <p:extLst>
      <p:ext uri="{BB962C8B-B14F-4D97-AF65-F5344CB8AC3E}">
        <p14:creationId xmlns:p14="http://schemas.microsoft.com/office/powerpoint/2010/main" val="19469581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7" descr="MAERSK_Hardware_Ships_42_JPG_120"/>
          <p:cNvPicPr>
            <a:picLocks noChangeAspect="1" noChangeArrowheads="1"/>
          </p:cNvPicPr>
          <p:nvPr/>
        </p:nvPicPr>
        <p:blipFill>
          <a:blip r:embed="rId3" cstate="print"/>
          <a:srcRect l="-154" r="3065" b="3545"/>
          <a:stretch>
            <a:fillRect/>
          </a:stretch>
        </p:blipFill>
        <p:spPr bwMode="auto">
          <a:xfrm>
            <a:off x="1660525" y="280989"/>
            <a:ext cx="8872538" cy="5875337"/>
          </a:xfrm>
          <a:prstGeom prst="rect">
            <a:avLst/>
          </a:prstGeom>
          <a:noFill/>
          <a:ln w="9525">
            <a:noFill/>
            <a:miter lim="800000"/>
            <a:headEnd/>
            <a:tailEnd/>
          </a:ln>
        </p:spPr>
      </p:pic>
      <p:sp>
        <p:nvSpPr>
          <p:cNvPr id="8196" name="Rectangle 4"/>
          <p:cNvSpPr>
            <a:spLocks noChangeArrowheads="1"/>
          </p:cNvSpPr>
          <p:nvPr/>
        </p:nvSpPr>
        <p:spPr bwMode="auto">
          <a:xfrm>
            <a:off x="1946275" y="1298575"/>
            <a:ext cx="4014788" cy="3498850"/>
          </a:xfrm>
          <a:prstGeom prst="rect">
            <a:avLst/>
          </a:prstGeom>
          <a:noFill/>
          <a:ln w="9525">
            <a:noFill/>
            <a:miter lim="800000"/>
            <a:headEnd/>
            <a:tailEnd/>
          </a:ln>
        </p:spPr>
        <p:txBody>
          <a:bodyPr lIns="0" tIns="0" rIns="0" bIns="0"/>
          <a:lstStyle/>
          <a:p>
            <a:pPr marL="206375" indent="-206375" algn="ctr" eaLnBrk="0" fontAlgn="base" hangingPunct="0">
              <a:lnSpc>
                <a:spcPct val="125000"/>
              </a:lnSpc>
              <a:spcBef>
                <a:spcPct val="0"/>
              </a:spcBef>
              <a:spcAft>
                <a:spcPct val="0"/>
              </a:spcAft>
              <a:buClr>
                <a:srgbClr val="69B8D6"/>
              </a:buClr>
              <a:buFont typeface="Wingdings" pitchFamily="2" charset="2"/>
              <a:buChar char="§"/>
            </a:pPr>
            <a:endParaRPr lang="da-DK">
              <a:solidFill>
                <a:srgbClr val="000000"/>
              </a:solidFill>
              <a:latin typeface="Book Antiqua" pitchFamily="18" charset="0"/>
              <a:ea typeface="Times New Roman" pitchFamily="18" charset="0"/>
              <a:cs typeface="Verdana" pitchFamily="34" charset="0"/>
            </a:endParaRPr>
          </a:p>
        </p:txBody>
      </p:sp>
      <p:sp>
        <p:nvSpPr>
          <p:cNvPr id="6" name="Rectangle 3"/>
          <p:cNvSpPr txBox="1">
            <a:spLocks noChangeArrowheads="1"/>
          </p:cNvSpPr>
          <p:nvPr/>
        </p:nvSpPr>
        <p:spPr bwMode="auto">
          <a:xfrm>
            <a:off x="1638301" y="387620"/>
            <a:ext cx="8907463" cy="877618"/>
          </a:xfrm>
          <a:prstGeom prst="rect">
            <a:avLst/>
          </a:prstGeom>
          <a:solidFill>
            <a:schemeClr val="bg1">
              <a:lumMod val="95000"/>
              <a:alpha val="79608"/>
            </a:schemeClr>
          </a:solidFill>
          <a:ln w="9525">
            <a:noFill/>
            <a:miter lim="800000"/>
            <a:headEnd/>
            <a:tailEnd/>
          </a:ln>
          <a:effectLst/>
        </p:spPr>
        <p:txBody>
          <a:bodyPr lIns="432000" tIns="216000" rIns="432000" bIns="252000" anchor="b">
            <a:spAutoFit/>
          </a:bodyPr>
          <a:lstStyle/>
          <a:p>
            <a:pPr algn="ctr" eaLnBrk="0" fontAlgn="base" hangingPunct="0">
              <a:lnSpc>
                <a:spcPct val="94000"/>
              </a:lnSpc>
              <a:spcBef>
                <a:spcPct val="0"/>
              </a:spcBef>
              <a:spcAft>
                <a:spcPct val="0"/>
              </a:spcAft>
              <a:defRPr/>
            </a:pPr>
            <a:r>
              <a:rPr lang="en-US" sz="2800" kern="0" dirty="0">
                <a:solidFill>
                  <a:srgbClr val="000000"/>
                </a:solidFill>
              </a:rPr>
              <a:t>Thank you</a:t>
            </a:r>
          </a:p>
        </p:txBody>
      </p:sp>
    </p:spTree>
    <p:extLst>
      <p:ext uri="{BB962C8B-B14F-4D97-AF65-F5344CB8AC3E}">
        <p14:creationId xmlns:p14="http://schemas.microsoft.com/office/powerpoint/2010/main" val="36122103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132"/>
          <p:cNvSpPr/>
          <p:nvPr/>
        </p:nvSpPr>
        <p:spPr>
          <a:xfrm>
            <a:off x="254203" y="1603992"/>
            <a:ext cx="5666947" cy="4294693"/>
          </a:xfrm>
          <a:prstGeom prst="rect">
            <a:avLst/>
          </a:prstGeom>
          <a:solidFill>
            <a:schemeClr val="bg1"/>
          </a:solidFill>
          <a:ln w="12700" cap="flat" cmpd="sng" algn="ctr">
            <a:solidFill>
              <a:srgbClr val="69B8D6"/>
            </a:solidFill>
            <a:prstDash val="solid"/>
            <a:miter lim="800000"/>
          </a:ln>
          <a:effectLst/>
        </p:spPr>
        <p:txBody>
          <a:bodyPr rtlCol="0" anchor="ctr"/>
          <a:lstStyle/>
          <a:p>
            <a:pPr algn="ctr">
              <a:defRPr/>
            </a:pPr>
            <a:endParaRPr lang="en-GB" kern="0" dirty="0">
              <a:solidFill>
                <a:srgbClr val="FFFFFF"/>
              </a:solidFill>
              <a:latin typeface="Zetta Sans Book"/>
            </a:endParaRPr>
          </a:p>
        </p:txBody>
      </p:sp>
      <p:sp>
        <p:nvSpPr>
          <p:cNvPr id="134" name="Rectangle 133"/>
          <p:cNvSpPr/>
          <p:nvPr/>
        </p:nvSpPr>
        <p:spPr>
          <a:xfrm>
            <a:off x="6075854" y="1584445"/>
            <a:ext cx="5884863" cy="4314241"/>
          </a:xfrm>
          <a:prstGeom prst="rect">
            <a:avLst/>
          </a:prstGeom>
          <a:solidFill>
            <a:srgbClr val="FFFFFF"/>
          </a:solidFill>
          <a:ln w="12700" cap="flat" cmpd="sng" algn="ctr">
            <a:solidFill>
              <a:schemeClr val="bg1">
                <a:lumMod val="65000"/>
              </a:schemeClr>
            </a:solidFill>
            <a:prstDash val="solid"/>
            <a:miter lim="800000"/>
          </a:ln>
          <a:effectLst/>
        </p:spPr>
        <p:txBody>
          <a:bodyPr rtlCol="0" anchor="ctr"/>
          <a:lstStyle/>
          <a:p>
            <a:pPr algn="ctr">
              <a:defRPr/>
            </a:pPr>
            <a:endParaRPr lang="en-GB" kern="0" dirty="0">
              <a:solidFill>
                <a:srgbClr val="FFFFFF"/>
              </a:solidFill>
              <a:latin typeface="Zetta Sans Book"/>
            </a:endParaRPr>
          </a:p>
        </p:txBody>
      </p:sp>
      <p:sp>
        <p:nvSpPr>
          <p:cNvPr id="135" name="Rectangle 134"/>
          <p:cNvSpPr/>
          <p:nvPr/>
        </p:nvSpPr>
        <p:spPr>
          <a:xfrm>
            <a:off x="6077286" y="1479676"/>
            <a:ext cx="5884863" cy="354925"/>
          </a:xfrm>
          <a:prstGeom prst="rect">
            <a:avLst/>
          </a:prstGeom>
          <a:solidFill>
            <a:schemeClr val="bg1">
              <a:lumMod val="65000"/>
            </a:schemeClr>
          </a:solidFill>
          <a:ln w="12700" cap="flat" cmpd="sng" algn="ctr">
            <a:solidFill>
              <a:schemeClr val="bg1">
                <a:lumMod val="65000"/>
              </a:schemeClr>
            </a:solidFill>
            <a:prstDash val="solid"/>
            <a:miter lim="800000"/>
          </a:ln>
          <a:effectLst/>
        </p:spPr>
        <p:txBody>
          <a:bodyPr rtlCol="0" anchor="ctr"/>
          <a:lstStyle/>
          <a:p>
            <a:pPr algn="ctr">
              <a:defRPr/>
            </a:pPr>
            <a:endParaRPr lang="en-GB" kern="0" dirty="0">
              <a:solidFill>
                <a:srgbClr val="FFFFFF"/>
              </a:solidFill>
              <a:latin typeface="Zetta Sans Book"/>
            </a:endParaRPr>
          </a:p>
        </p:txBody>
      </p:sp>
      <p:sp>
        <p:nvSpPr>
          <p:cNvPr id="136" name="Rectangle 135"/>
          <p:cNvSpPr/>
          <p:nvPr/>
        </p:nvSpPr>
        <p:spPr>
          <a:xfrm>
            <a:off x="254203" y="1472665"/>
            <a:ext cx="5680208" cy="322684"/>
          </a:xfrm>
          <a:prstGeom prst="rect">
            <a:avLst/>
          </a:prstGeom>
          <a:solidFill>
            <a:srgbClr val="69B8D6"/>
          </a:solidFill>
          <a:ln w="12700" cap="flat" cmpd="sng" algn="ctr">
            <a:noFill/>
            <a:prstDash val="solid"/>
            <a:miter lim="800000"/>
          </a:ln>
          <a:effectLst/>
        </p:spPr>
        <p:txBody>
          <a:bodyPr rtlCol="0" anchor="ctr"/>
          <a:lstStyle/>
          <a:p>
            <a:pPr algn="ctr">
              <a:defRPr/>
            </a:pPr>
            <a:endParaRPr lang="en-GB" kern="0" dirty="0">
              <a:solidFill>
                <a:srgbClr val="FFFFFF"/>
              </a:solidFill>
              <a:latin typeface="Zetta Sans Book"/>
            </a:endParaRPr>
          </a:p>
        </p:txBody>
      </p:sp>
      <p:sp>
        <p:nvSpPr>
          <p:cNvPr id="137" name="Title 6"/>
          <p:cNvSpPr txBox="1">
            <a:spLocks/>
          </p:cNvSpPr>
          <p:nvPr/>
        </p:nvSpPr>
        <p:spPr>
          <a:xfrm>
            <a:off x="364901" y="468639"/>
            <a:ext cx="9667743" cy="11442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a:defRPr/>
            </a:pPr>
            <a:r>
              <a:rPr lang="en-GB" sz="2400" dirty="0" smtClean="0">
                <a:solidFill>
                  <a:srgbClr val="69B8D6"/>
                </a:solidFill>
                <a:latin typeface="Zetta Serif DemiBold" panose="02060503060000020004" pitchFamily="18" charset="0"/>
              </a:rPr>
              <a:t>Maersk is an </a:t>
            </a:r>
            <a:r>
              <a:rPr lang="en-GB" sz="2400" dirty="0">
                <a:solidFill>
                  <a:srgbClr val="69B8D6"/>
                </a:solidFill>
                <a:latin typeface="Zetta Serif DemiBold" panose="02060503060000020004" pitchFamily="18" charset="0"/>
              </a:rPr>
              <a:t>integrated transport &amp; logistics company </a:t>
            </a:r>
            <a:r>
              <a:rPr lang="en-GB" sz="2400" dirty="0" smtClean="0">
                <a:solidFill>
                  <a:srgbClr val="000000"/>
                </a:solidFill>
                <a:latin typeface="Zetta Serif Book"/>
              </a:rPr>
              <a:t> </a:t>
            </a:r>
          </a:p>
          <a:p>
            <a:pPr>
              <a:defRPr/>
            </a:pPr>
            <a:r>
              <a:rPr lang="en-GB" sz="2000" i="1" dirty="0" smtClean="0">
                <a:solidFill>
                  <a:srgbClr val="000000"/>
                </a:solidFill>
                <a:latin typeface="Zetta Serif Book"/>
              </a:rPr>
              <a:t>Maersk Group is organised </a:t>
            </a:r>
            <a:r>
              <a:rPr lang="en-GB" sz="2000" i="1" dirty="0">
                <a:solidFill>
                  <a:srgbClr val="000000"/>
                </a:solidFill>
                <a:latin typeface="Zetta Serif Book"/>
              </a:rPr>
              <a:t>into two divisions</a:t>
            </a:r>
          </a:p>
        </p:txBody>
      </p:sp>
      <p:sp>
        <p:nvSpPr>
          <p:cNvPr id="138" name="Rectangle 137"/>
          <p:cNvSpPr/>
          <p:nvPr/>
        </p:nvSpPr>
        <p:spPr>
          <a:xfrm>
            <a:off x="6401510" y="1932232"/>
            <a:ext cx="4911647" cy="1229973"/>
          </a:xfrm>
          <a:prstGeom prst="rect">
            <a:avLst/>
          </a:prstGeom>
          <a:noFill/>
          <a:ln w="12700" cap="flat" cmpd="sng" algn="ctr">
            <a:noFill/>
            <a:prstDash val="solid"/>
            <a:miter lim="800000"/>
          </a:ln>
          <a:effectLst/>
        </p:spPr>
        <p:txBody>
          <a:bodyPr lIns="144000" tIns="144000" rIns="144000" bIns="144000" rtlCol="0" anchor="t" anchorCtr="0"/>
          <a:lstStyle/>
          <a:p>
            <a:pPr marL="285744" indent="-285744">
              <a:spcBef>
                <a:spcPts val="600"/>
              </a:spcBef>
              <a:buClr>
                <a:srgbClr val="69B8D6"/>
              </a:buClr>
              <a:buSzPct val="60000"/>
              <a:buFont typeface="Wingdings 3" panose="05040102010807070707" pitchFamily="18" charset="2"/>
              <a:buChar char=""/>
              <a:defRPr/>
            </a:pPr>
            <a:endParaRPr lang="en-GB" sz="1400" kern="0" dirty="0">
              <a:solidFill>
                <a:srgbClr val="004E6B"/>
              </a:solidFill>
              <a:latin typeface="Zetta Sans Book"/>
            </a:endParaRPr>
          </a:p>
        </p:txBody>
      </p:sp>
      <p:sp>
        <p:nvSpPr>
          <p:cNvPr id="139" name="TextBox 138"/>
          <p:cNvSpPr txBox="1"/>
          <p:nvPr/>
        </p:nvSpPr>
        <p:spPr>
          <a:xfrm>
            <a:off x="274748" y="1474018"/>
            <a:ext cx="2730235" cy="338554"/>
          </a:xfrm>
          <a:prstGeom prst="rect">
            <a:avLst/>
          </a:prstGeom>
          <a:noFill/>
        </p:spPr>
        <p:txBody>
          <a:bodyPr wrap="none" rtlCol="0">
            <a:spAutoFit/>
          </a:bodyPr>
          <a:lstStyle/>
          <a:p>
            <a:r>
              <a:rPr lang="en-GB" sz="1600" dirty="0">
                <a:solidFill>
                  <a:srgbClr val="FFFFFF"/>
                </a:solidFill>
                <a:latin typeface="Zetta Serif DemiBold" panose="02060503060000020004" pitchFamily="18" charset="0"/>
              </a:rPr>
              <a:t>TRANSPORT &amp; LOGISTICS</a:t>
            </a:r>
          </a:p>
        </p:txBody>
      </p:sp>
      <p:sp>
        <p:nvSpPr>
          <p:cNvPr id="140" name="TextBox 139"/>
          <p:cNvSpPr txBox="1"/>
          <p:nvPr/>
        </p:nvSpPr>
        <p:spPr>
          <a:xfrm>
            <a:off x="6180005" y="1474018"/>
            <a:ext cx="1024639" cy="338554"/>
          </a:xfrm>
          <a:prstGeom prst="rect">
            <a:avLst/>
          </a:prstGeom>
          <a:noFill/>
        </p:spPr>
        <p:txBody>
          <a:bodyPr wrap="none" rtlCol="0">
            <a:spAutoFit/>
          </a:bodyPr>
          <a:lstStyle/>
          <a:p>
            <a:r>
              <a:rPr lang="en-GB" sz="1600" dirty="0">
                <a:solidFill>
                  <a:srgbClr val="FFFFFF"/>
                </a:solidFill>
                <a:latin typeface="Zetta Serif DemiBold" panose="02060503060000020004" pitchFamily="18" charset="0"/>
              </a:rPr>
              <a:t>ENERGY</a:t>
            </a:r>
          </a:p>
        </p:txBody>
      </p:sp>
      <p:grpSp>
        <p:nvGrpSpPr>
          <p:cNvPr id="178" name="Group 177"/>
          <p:cNvGrpSpPr/>
          <p:nvPr/>
        </p:nvGrpSpPr>
        <p:grpSpPr>
          <a:xfrm>
            <a:off x="6228085" y="3560459"/>
            <a:ext cx="1608631" cy="1531592"/>
            <a:chOff x="6364432" y="3273837"/>
            <a:chExt cx="1608630" cy="1497446"/>
          </a:xfrm>
        </p:grpSpPr>
        <p:sp>
          <p:nvSpPr>
            <p:cNvPr id="179" name="Rectangle 178"/>
            <p:cNvSpPr/>
            <p:nvPr/>
          </p:nvSpPr>
          <p:spPr>
            <a:xfrm>
              <a:off x="6364432" y="3273837"/>
              <a:ext cx="1608630" cy="1497446"/>
            </a:xfrm>
            <a:prstGeom prst="rect">
              <a:avLst/>
            </a:prstGeom>
            <a:gradFill>
              <a:gsLst>
                <a:gs pos="47000">
                  <a:srgbClr val="FFFFFF"/>
                </a:gs>
                <a:gs pos="100000">
                  <a:srgbClr val="69B8D6">
                    <a:lumMod val="45000"/>
                    <a:lumOff val="55000"/>
                  </a:srgbClr>
                </a:gs>
              </a:gsLst>
              <a:lin ang="5400000" scaled="1"/>
            </a:gradFill>
            <a:ln w="12700" cap="flat" cmpd="sng" algn="ctr">
              <a:noFill/>
              <a:prstDash val="solid"/>
              <a:miter lim="800000"/>
            </a:ln>
            <a:effectLst/>
          </p:spPr>
          <p:txBody>
            <a:bodyPr rtlCol="0" anchor="ctr"/>
            <a:lstStyle/>
            <a:p>
              <a:pPr algn="ctr">
                <a:defRPr/>
              </a:pPr>
              <a:endParaRPr lang="en-GB" kern="0" dirty="0">
                <a:solidFill>
                  <a:srgbClr val="FFFFFF"/>
                </a:solidFill>
                <a:latin typeface="Zetta Sans Book"/>
              </a:endParaRPr>
            </a:p>
          </p:txBody>
        </p:sp>
        <p:sp>
          <p:nvSpPr>
            <p:cNvPr id="180" name="Freeform 201"/>
            <p:cNvSpPr>
              <a:spLocks noEditPoints="1"/>
            </p:cNvSpPr>
            <p:nvPr/>
          </p:nvSpPr>
          <p:spPr bwMode="auto">
            <a:xfrm>
              <a:off x="6415655" y="4498710"/>
              <a:ext cx="1504342" cy="272573"/>
            </a:xfrm>
            <a:custGeom>
              <a:avLst/>
              <a:gdLst/>
              <a:ahLst/>
              <a:cxnLst>
                <a:cxn ang="0">
                  <a:pos x="26" y="188"/>
                </a:cxn>
                <a:cxn ang="0">
                  <a:pos x="52" y="207"/>
                </a:cxn>
                <a:cxn ang="0">
                  <a:pos x="1103" y="210"/>
                </a:cxn>
                <a:cxn ang="0">
                  <a:pos x="1120" y="204"/>
                </a:cxn>
                <a:cxn ang="0">
                  <a:pos x="1124" y="193"/>
                </a:cxn>
                <a:cxn ang="0">
                  <a:pos x="1117" y="178"/>
                </a:cxn>
                <a:cxn ang="0">
                  <a:pos x="1103" y="176"/>
                </a:cxn>
                <a:cxn ang="0">
                  <a:pos x="1100" y="171"/>
                </a:cxn>
                <a:cxn ang="0">
                  <a:pos x="1100" y="170"/>
                </a:cxn>
                <a:cxn ang="0">
                  <a:pos x="1159" y="102"/>
                </a:cxn>
                <a:cxn ang="0">
                  <a:pos x="1085" y="30"/>
                </a:cxn>
                <a:cxn ang="0">
                  <a:pos x="895" y="83"/>
                </a:cxn>
                <a:cxn ang="0">
                  <a:pos x="888" y="80"/>
                </a:cxn>
                <a:cxn ang="0">
                  <a:pos x="656" y="89"/>
                </a:cxn>
                <a:cxn ang="0">
                  <a:pos x="653" y="80"/>
                </a:cxn>
                <a:cxn ang="0">
                  <a:pos x="647" y="83"/>
                </a:cxn>
                <a:cxn ang="0">
                  <a:pos x="600" y="86"/>
                </a:cxn>
                <a:cxn ang="0">
                  <a:pos x="550" y="79"/>
                </a:cxn>
                <a:cxn ang="0">
                  <a:pos x="539" y="86"/>
                </a:cxn>
                <a:cxn ang="0">
                  <a:pos x="406" y="83"/>
                </a:cxn>
                <a:cxn ang="0">
                  <a:pos x="400" y="80"/>
                </a:cxn>
                <a:cxn ang="0">
                  <a:pos x="158" y="89"/>
                </a:cxn>
                <a:cxn ang="0">
                  <a:pos x="292" y="95"/>
                </a:cxn>
                <a:cxn ang="0">
                  <a:pos x="158" y="104"/>
                </a:cxn>
                <a:cxn ang="0">
                  <a:pos x="288" y="111"/>
                </a:cxn>
                <a:cxn ang="0">
                  <a:pos x="143" y="118"/>
                </a:cxn>
                <a:cxn ang="0">
                  <a:pos x="103" y="26"/>
                </a:cxn>
                <a:cxn ang="0">
                  <a:pos x="102" y="0"/>
                </a:cxn>
                <a:cxn ang="0">
                  <a:pos x="86" y="1"/>
                </a:cxn>
                <a:cxn ang="0">
                  <a:pos x="29" y="69"/>
                </a:cxn>
                <a:cxn ang="0">
                  <a:pos x="0" y="122"/>
                </a:cxn>
                <a:cxn ang="0">
                  <a:pos x="895" y="118"/>
                </a:cxn>
                <a:cxn ang="0">
                  <a:pos x="1080" y="101"/>
                </a:cxn>
                <a:cxn ang="0">
                  <a:pos x="895" y="94"/>
                </a:cxn>
                <a:cxn ang="0">
                  <a:pos x="739" y="98"/>
                </a:cxn>
                <a:cxn ang="0">
                  <a:pos x="656" y="94"/>
                </a:cxn>
                <a:cxn ang="0">
                  <a:pos x="800" y="104"/>
                </a:cxn>
                <a:cxn ang="0">
                  <a:pos x="792" y="94"/>
                </a:cxn>
                <a:cxn ang="0">
                  <a:pos x="792" y="118"/>
                </a:cxn>
                <a:cxn ang="0">
                  <a:pos x="800" y="109"/>
                </a:cxn>
                <a:cxn ang="0">
                  <a:pos x="737" y="109"/>
                </a:cxn>
                <a:cxn ang="0">
                  <a:pos x="742" y="116"/>
                </a:cxn>
                <a:cxn ang="0">
                  <a:pos x="737" y="109"/>
                </a:cxn>
                <a:cxn ang="0">
                  <a:pos x="406" y="118"/>
                </a:cxn>
                <a:cxn ang="0">
                  <a:pos x="538" y="94"/>
                </a:cxn>
                <a:cxn ang="0">
                  <a:pos x="550" y="104"/>
                </a:cxn>
                <a:cxn ang="0">
                  <a:pos x="597" y="101"/>
                </a:cxn>
                <a:cxn ang="0">
                  <a:pos x="647" y="104"/>
                </a:cxn>
                <a:cxn ang="0">
                  <a:pos x="350" y="104"/>
                </a:cxn>
                <a:cxn ang="0">
                  <a:pos x="345" y="95"/>
                </a:cxn>
                <a:cxn ang="0">
                  <a:pos x="342" y="118"/>
                </a:cxn>
                <a:cxn ang="0">
                  <a:pos x="349" y="111"/>
                </a:cxn>
                <a:cxn ang="0">
                  <a:pos x="342" y="118"/>
                </a:cxn>
              </a:cxnLst>
              <a:rect l="0" t="0" r="r" b="b"/>
              <a:pathLst>
                <a:path w="1159" h="210">
                  <a:moveTo>
                    <a:pt x="0" y="122"/>
                  </a:moveTo>
                  <a:lnTo>
                    <a:pt x="19" y="175"/>
                  </a:lnTo>
                  <a:lnTo>
                    <a:pt x="19" y="175"/>
                  </a:lnTo>
                  <a:lnTo>
                    <a:pt x="26" y="188"/>
                  </a:lnTo>
                  <a:lnTo>
                    <a:pt x="30" y="194"/>
                  </a:lnTo>
                  <a:lnTo>
                    <a:pt x="35" y="199"/>
                  </a:lnTo>
                  <a:lnTo>
                    <a:pt x="42" y="204"/>
                  </a:lnTo>
                  <a:lnTo>
                    <a:pt x="52" y="207"/>
                  </a:lnTo>
                  <a:lnTo>
                    <a:pt x="63" y="209"/>
                  </a:lnTo>
                  <a:lnTo>
                    <a:pt x="78" y="210"/>
                  </a:lnTo>
                  <a:lnTo>
                    <a:pt x="1103" y="210"/>
                  </a:lnTo>
                  <a:lnTo>
                    <a:pt x="1103" y="210"/>
                  </a:lnTo>
                  <a:lnTo>
                    <a:pt x="1110" y="210"/>
                  </a:lnTo>
                  <a:lnTo>
                    <a:pt x="1115" y="208"/>
                  </a:lnTo>
                  <a:lnTo>
                    <a:pt x="1118" y="206"/>
                  </a:lnTo>
                  <a:lnTo>
                    <a:pt x="1120" y="204"/>
                  </a:lnTo>
                  <a:lnTo>
                    <a:pt x="1122" y="201"/>
                  </a:lnTo>
                  <a:lnTo>
                    <a:pt x="1122" y="198"/>
                  </a:lnTo>
                  <a:lnTo>
                    <a:pt x="1124" y="193"/>
                  </a:lnTo>
                  <a:lnTo>
                    <a:pt x="1124" y="193"/>
                  </a:lnTo>
                  <a:lnTo>
                    <a:pt x="1124" y="189"/>
                  </a:lnTo>
                  <a:lnTo>
                    <a:pt x="1121" y="182"/>
                  </a:lnTo>
                  <a:lnTo>
                    <a:pt x="1120" y="180"/>
                  </a:lnTo>
                  <a:lnTo>
                    <a:pt x="1117" y="178"/>
                  </a:lnTo>
                  <a:lnTo>
                    <a:pt x="1114" y="177"/>
                  </a:lnTo>
                  <a:lnTo>
                    <a:pt x="1109" y="176"/>
                  </a:lnTo>
                  <a:lnTo>
                    <a:pt x="1103" y="176"/>
                  </a:lnTo>
                  <a:lnTo>
                    <a:pt x="1103" y="176"/>
                  </a:lnTo>
                  <a:lnTo>
                    <a:pt x="1103" y="176"/>
                  </a:lnTo>
                  <a:lnTo>
                    <a:pt x="1101" y="175"/>
                  </a:lnTo>
                  <a:lnTo>
                    <a:pt x="1100" y="171"/>
                  </a:lnTo>
                  <a:lnTo>
                    <a:pt x="1100" y="171"/>
                  </a:lnTo>
                  <a:lnTo>
                    <a:pt x="1100" y="170"/>
                  </a:lnTo>
                  <a:lnTo>
                    <a:pt x="1097" y="175"/>
                  </a:lnTo>
                  <a:lnTo>
                    <a:pt x="1100" y="170"/>
                  </a:lnTo>
                  <a:lnTo>
                    <a:pt x="1100" y="170"/>
                  </a:lnTo>
                  <a:lnTo>
                    <a:pt x="1100" y="170"/>
                  </a:lnTo>
                  <a:lnTo>
                    <a:pt x="1158" y="103"/>
                  </a:lnTo>
                  <a:lnTo>
                    <a:pt x="1158" y="103"/>
                  </a:lnTo>
                  <a:lnTo>
                    <a:pt x="1159" y="102"/>
                  </a:lnTo>
                  <a:lnTo>
                    <a:pt x="1157" y="101"/>
                  </a:lnTo>
                  <a:lnTo>
                    <a:pt x="1092" y="101"/>
                  </a:lnTo>
                  <a:lnTo>
                    <a:pt x="1087" y="30"/>
                  </a:lnTo>
                  <a:lnTo>
                    <a:pt x="1085" y="30"/>
                  </a:lnTo>
                  <a:lnTo>
                    <a:pt x="1081" y="89"/>
                  </a:lnTo>
                  <a:lnTo>
                    <a:pt x="895" y="89"/>
                  </a:lnTo>
                  <a:lnTo>
                    <a:pt x="895" y="83"/>
                  </a:lnTo>
                  <a:lnTo>
                    <a:pt x="895" y="83"/>
                  </a:lnTo>
                  <a:lnTo>
                    <a:pt x="894" y="81"/>
                  </a:lnTo>
                  <a:lnTo>
                    <a:pt x="892" y="80"/>
                  </a:lnTo>
                  <a:lnTo>
                    <a:pt x="888" y="80"/>
                  </a:lnTo>
                  <a:lnTo>
                    <a:pt x="888" y="80"/>
                  </a:lnTo>
                  <a:lnTo>
                    <a:pt x="886" y="81"/>
                  </a:lnTo>
                  <a:lnTo>
                    <a:pt x="885" y="83"/>
                  </a:lnTo>
                  <a:lnTo>
                    <a:pt x="885" y="89"/>
                  </a:lnTo>
                  <a:lnTo>
                    <a:pt x="656" y="89"/>
                  </a:lnTo>
                  <a:lnTo>
                    <a:pt x="656" y="83"/>
                  </a:lnTo>
                  <a:lnTo>
                    <a:pt x="656" y="83"/>
                  </a:lnTo>
                  <a:lnTo>
                    <a:pt x="655" y="81"/>
                  </a:lnTo>
                  <a:lnTo>
                    <a:pt x="653" y="80"/>
                  </a:lnTo>
                  <a:lnTo>
                    <a:pt x="650" y="80"/>
                  </a:lnTo>
                  <a:lnTo>
                    <a:pt x="650" y="80"/>
                  </a:lnTo>
                  <a:lnTo>
                    <a:pt x="648" y="81"/>
                  </a:lnTo>
                  <a:lnTo>
                    <a:pt x="647" y="83"/>
                  </a:lnTo>
                  <a:lnTo>
                    <a:pt x="647" y="89"/>
                  </a:lnTo>
                  <a:lnTo>
                    <a:pt x="602" y="89"/>
                  </a:lnTo>
                  <a:lnTo>
                    <a:pt x="602" y="89"/>
                  </a:lnTo>
                  <a:lnTo>
                    <a:pt x="600" y="86"/>
                  </a:lnTo>
                  <a:lnTo>
                    <a:pt x="597" y="83"/>
                  </a:lnTo>
                  <a:lnTo>
                    <a:pt x="594" y="80"/>
                  </a:lnTo>
                  <a:lnTo>
                    <a:pt x="590" y="79"/>
                  </a:lnTo>
                  <a:lnTo>
                    <a:pt x="550" y="79"/>
                  </a:lnTo>
                  <a:lnTo>
                    <a:pt x="550" y="79"/>
                  </a:lnTo>
                  <a:lnTo>
                    <a:pt x="546" y="80"/>
                  </a:lnTo>
                  <a:lnTo>
                    <a:pt x="542" y="83"/>
                  </a:lnTo>
                  <a:lnTo>
                    <a:pt x="539" y="86"/>
                  </a:lnTo>
                  <a:lnTo>
                    <a:pt x="538" y="89"/>
                  </a:lnTo>
                  <a:lnTo>
                    <a:pt x="406" y="89"/>
                  </a:lnTo>
                  <a:lnTo>
                    <a:pt x="406" y="83"/>
                  </a:lnTo>
                  <a:lnTo>
                    <a:pt x="406" y="83"/>
                  </a:lnTo>
                  <a:lnTo>
                    <a:pt x="405" y="81"/>
                  </a:lnTo>
                  <a:lnTo>
                    <a:pt x="403" y="80"/>
                  </a:lnTo>
                  <a:lnTo>
                    <a:pt x="400" y="80"/>
                  </a:lnTo>
                  <a:lnTo>
                    <a:pt x="400" y="80"/>
                  </a:lnTo>
                  <a:lnTo>
                    <a:pt x="397" y="81"/>
                  </a:lnTo>
                  <a:lnTo>
                    <a:pt x="396" y="83"/>
                  </a:lnTo>
                  <a:lnTo>
                    <a:pt x="396" y="89"/>
                  </a:lnTo>
                  <a:lnTo>
                    <a:pt x="158" y="89"/>
                  </a:lnTo>
                  <a:lnTo>
                    <a:pt x="158" y="94"/>
                  </a:lnTo>
                  <a:lnTo>
                    <a:pt x="295" y="94"/>
                  </a:lnTo>
                  <a:lnTo>
                    <a:pt x="295" y="94"/>
                  </a:lnTo>
                  <a:lnTo>
                    <a:pt x="292" y="95"/>
                  </a:lnTo>
                  <a:lnTo>
                    <a:pt x="290" y="98"/>
                  </a:lnTo>
                  <a:lnTo>
                    <a:pt x="288" y="101"/>
                  </a:lnTo>
                  <a:lnTo>
                    <a:pt x="287" y="104"/>
                  </a:lnTo>
                  <a:lnTo>
                    <a:pt x="158" y="104"/>
                  </a:lnTo>
                  <a:lnTo>
                    <a:pt x="158" y="109"/>
                  </a:lnTo>
                  <a:lnTo>
                    <a:pt x="287" y="109"/>
                  </a:lnTo>
                  <a:lnTo>
                    <a:pt x="287" y="109"/>
                  </a:lnTo>
                  <a:lnTo>
                    <a:pt x="288" y="111"/>
                  </a:lnTo>
                  <a:lnTo>
                    <a:pt x="290" y="115"/>
                  </a:lnTo>
                  <a:lnTo>
                    <a:pt x="292" y="116"/>
                  </a:lnTo>
                  <a:lnTo>
                    <a:pt x="295" y="118"/>
                  </a:lnTo>
                  <a:lnTo>
                    <a:pt x="143" y="118"/>
                  </a:lnTo>
                  <a:lnTo>
                    <a:pt x="143" y="48"/>
                  </a:lnTo>
                  <a:lnTo>
                    <a:pt x="149" y="43"/>
                  </a:lnTo>
                  <a:lnTo>
                    <a:pt x="149" y="26"/>
                  </a:lnTo>
                  <a:lnTo>
                    <a:pt x="103" y="26"/>
                  </a:lnTo>
                  <a:lnTo>
                    <a:pt x="103" y="1"/>
                  </a:lnTo>
                  <a:lnTo>
                    <a:pt x="103" y="1"/>
                  </a:lnTo>
                  <a:lnTo>
                    <a:pt x="103" y="0"/>
                  </a:lnTo>
                  <a:lnTo>
                    <a:pt x="102" y="0"/>
                  </a:lnTo>
                  <a:lnTo>
                    <a:pt x="87" y="0"/>
                  </a:lnTo>
                  <a:lnTo>
                    <a:pt x="87" y="0"/>
                  </a:lnTo>
                  <a:lnTo>
                    <a:pt x="87" y="0"/>
                  </a:lnTo>
                  <a:lnTo>
                    <a:pt x="86" y="1"/>
                  </a:lnTo>
                  <a:lnTo>
                    <a:pt x="84" y="26"/>
                  </a:lnTo>
                  <a:lnTo>
                    <a:pt x="72" y="26"/>
                  </a:lnTo>
                  <a:lnTo>
                    <a:pt x="69" y="62"/>
                  </a:lnTo>
                  <a:lnTo>
                    <a:pt x="29" y="69"/>
                  </a:lnTo>
                  <a:lnTo>
                    <a:pt x="29" y="118"/>
                  </a:lnTo>
                  <a:lnTo>
                    <a:pt x="13" y="118"/>
                  </a:lnTo>
                  <a:lnTo>
                    <a:pt x="13" y="122"/>
                  </a:lnTo>
                  <a:lnTo>
                    <a:pt x="0" y="122"/>
                  </a:lnTo>
                  <a:close/>
                  <a:moveTo>
                    <a:pt x="895" y="109"/>
                  </a:moveTo>
                  <a:lnTo>
                    <a:pt x="1001" y="109"/>
                  </a:lnTo>
                  <a:lnTo>
                    <a:pt x="994" y="118"/>
                  </a:lnTo>
                  <a:lnTo>
                    <a:pt x="895" y="118"/>
                  </a:lnTo>
                  <a:lnTo>
                    <a:pt x="895" y="109"/>
                  </a:lnTo>
                  <a:close/>
                  <a:moveTo>
                    <a:pt x="895" y="94"/>
                  </a:moveTo>
                  <a:lnTo>
                    <a:pt x="1080" y="94"/>
                  </a:lnTo>
                  <a:lnTo>
                    <a:pt x="1080" y="101"/>
                  </a:lnTo>
                  <a:lnTo>
                    <a:pt x="1008" y="101"/>
                  </a:lnTo>
                  <a:lnTo>
                    <a:pt x="1005" y="104"/>
                  </a:lnTo>
                  <a:lnTo>
                    <a:pt x="895" y="104"/>
                  </a:lnTo>
                  <a:lnTo>
                    <a:pt x="895" y="94"/>
                  </a:lnTo>
                  <a:close/>
                  <a:moveTo>
                    <a:pt x="744" y="94"/>
                  </a:moveTo>
                  <a:lnTo>
                    <a:pt x="744" y="94"/>
                  </a:lnTo>
                  <a:lnTo>
                    <a:pt x="741" y="95"/>
                  </a:lnTo>
                  <a:lnTo>
                    <a:pt x="739" y="98"/>
                  </a:lnTo>
                  <a:lnTo>
                    <a:pt x="737" y="101"/>
                  </a:lnTo>
                  <a:lnTo>
                    <a:pt x="736" y="104"/>
                  </a:lnTo>
                  <a:lnTo>
                    <a:pt x="656" y="104"/>
                  </a:lnTo>
                  <a:lnTo>
                    <a:pt x="656" y="94"/>
                  </a:lnTo>
                  <a:lnTo>
                    <a:pt x="744" y="94"/>
                  </a:lnTo>
                  <a:close/>
                  <a:moveTo>
                    <a:pt x="885" y="104"/>
                  </a:moveTo>
                  <a:lnTo>
                    <a:pt x="800" y="104"/>
                  </a:lnTo>
                  <a:lnTo>
                    <a:pt x="800" y="104"/>
                  </a:lnTo>
                  <a:lnTo>
                    <a:pt x="799" y="101"/>
                  </a:lnTo>
                  <a:lnTo>
                    <a:pt x="797" y="98"/>
                  </a:lnTo>
                  <a:lnTo>
                    <a:pt x="795" y="95"/>
                  </a:lnTo>
                  <a:lnTo>
                    <a:pt x="792" y="94"/>
                  </a:lnTo>
                  <a:lnTo>
                    <a:pt x="885" y="94"/>
                  </a:lnTo>
                  <a:lnTo>
                    <a:pt x="885" y="104"/>
                  </a:lnTo>
                  <a:close/>
                  <a:moveTo>
                    <a:pt x="792" y="118"/>
                  </a:moveTo>
                  <a:lnTo>
                    <a:pt x="792" y="118"/>
                  </a:lnTo>
                  <a:lnTo>
                    <a:pt x="795" y="116"/>
                  </a:lnTo>
                  <a:lnTo>
                    <a:pt x="797" y="115"/>
                  </a:lnTo>
                  <a:lnTo>
                    <a:pt x="798" y="111"/>
                  </a:lnTo>
                  <a:lnTo>
                    <a:pt x="800" y="109"/>
                  </a:lnTo>
                  <a:lnTo>
                    <a:pt x="885" y="109"/>
                  </a:lnTo>
                  <a:lnTo>
                    <a:pt x="885" y="118"/>
                  </a:lnTo>
                  <a:lnTo>
                    <a:pt x="792" y="118"/>
                  </a:lnTo>
                  <a:close/>
                  <a:moveTo>
                    <a:pt x="737" y="109"/>
                  </a:moveTo>
                  <a:lnTo>
                    <a:pt x="737" y="109"/>
                  </a:lnTo>
                  <a:lnTo>
                    <a:pt x="738" y="111"/>
                  </a:lnTo>
                  <a:lnTo>
                    <a:pt x="740" y="115"/>
                  </a:lnTo>
                  <a:lnTo>
                    <a:pt x="742" y="116"/>
                  </a:lnTo>
                  <a:lnTo>
                    <a:pt x="744" y="118"/>
                  </a:lnTo>
                  <a:lnTo>
                    <a:pt x="656" y="118"/>
                  </a:lnTo>
                  <a:lnTo>
                    <a:pt x="656" y="109"/>
                  </a:lnTo>
                  <a:lnTo>
                    <a:pt x="737" y="109"/>
                  </a:lnTo>
                  <a:close/>
                  <a:moveTo>
                    <a:pt x="406" y="109"/>
                  </a:moveTo>
                  <a:lnTo>
                    <a:pt x="647" y="109"/>
                  </a:lnTo>
                  <a:lnTo>
                    <a:pt x="647" y="118"/>
                  </a:lnTo>
                  <a:lnTo>
                    <a:pt x="406" y="118"/>
                  </a:lnTo>
                  <a:lnTo>
                    <a:pt x="406" y="109"/>
                  </a:lnTo>
                  <a:close/>
                  <a:moveTo>
                    <a:pt x="406" y="94"/>
                  </a:moveTo>
                  <a:lnTo>
                    <a:pt x="538" y="94"/>
                  </a:lnTo>
                  <a:lnTo>
                    <a:pt x="538" y="94"/>
                  </a:lnTo>
                  <a:lnTo>
                    <a:pt x="539" y="98"/>
                  </a:lnTo>
                  <a:lnTo>
                    <a:pt x="542" y="101"/>
                  </a:lnTo>
                  <a:lnTo>
                    <a:pt x="546" y="103"/>
                  </a:lnTo>
                  <a:lnTo>
                    <a:pt x="550" y="104"/>
                  </a:lnTo>
                  <a:lnTo>
                    <a:pt x="590" y="104"/>
                  </a:lnTo>
                  <a:lnTo>
                    <a:pt x="590" y="104"/>
                  </a:lnTo>
                  <a:lnTo>
                    <a:pt x="594" y="103"/>
                  </a:lnTo>
                  <a:lnTo>
                    <a:pt x="597" y="101"/>
                  </a:lnTo>
                  <a:lnTo>
                    <a:pt x="599" y="98"/>
                  </a:lnTo>
                  <a:lnTo>
                    <a:pt x="602" y="94"/>
                  </a:lnTo>
                  <a:lnTo>
                    <a:pt x="647" y="94"/>
                  </a:lnTo>
                  <a:lnTo>
                    <a:pt x="647" y="104"/>
                  </a:lnTo>
                  <a:lnTo>
                    <a:pt x="406" y="104"/>
                  </a:lnTo>
                  <a:lnTo>
                    <a:pt x="406" y="94"/>
                  </a:lnTo>
                  <a:close/>
                  <a:moveTo>
                    <a:pt x="396" y="104"/>
                  </a:moveTo>
                  <a:lnTo>
                    <a:pt x="350" y="104"/>
                  </a:lnTo>
                  <a:lnTo>
                    <a:pt x="350" y="104"/>
                  </a:lnTo>
                  <a:lnTo>
                    <a:pt x="349" y="101"/>
                  </a:lnTo>
                  <a:lnTo>
                    <a:pt x="348" y="98"/>
                  </a:lnTo>
                  <a:lnTo>
                    <a:pt x="345" y="95"/>
                  </a:lnTo>
                  <a:lnTo>
                    <a:pt x="343" y="94"/>
                  </a:lnTo>
                  <a:lnTo>
                    <a:pt x="396" y="94"/>
                  </a:lnTo>
                  <a:lnTo>
                    <a:pt x="396" y="104"/>
                  </a:lnTo>
                  <a:close/>
                  <a:moveTo>
                    <a:pt x="342" y="118"/>
                  </a:moveTo>
                  <a:lnTo>
                    <a:pt x="342" y="118"/>
                  </a:lnTo>
                  <a:lnTo>
                    <a:pt x="345" y="116"/>
                  </a:lnTo>
                  <a:lnTo>
                    <a:pt x="347" y="115"/>
                  </a:lnTo>
                  <a:lnTo>
                    <a:pt x="349" y="111"/>
                  </a:lnTo>
                  <a:lnTo>
                    <a:pt x="350" y="109"/>
                  </a:lnTo>
                  <a:lnTo>
                    <a:pt x="396" y="109"/>
                  </a:lnTo>
                  <a:lnTo>
                    <a:pt x="396" y="118"/>
                  </a:lnTo>
                  <a:lnTo>
                    <a:pt x="342" y="118"/>
                  </a:lnTo>
                  <a:close/>
                </a:path>
              </a:pathLst>
            </a:custGeom>
            <a:solidFill>
              <a:srgbClr val="004E6B"/>
            </a:solidFill>
            <a:ln w="9525">
              <a:noFill/>
              <a:round/>
              <a:headEnd/>
              <a:tailEnd/>
            </a:ln>
            <a:effectLst>
              <a:reflection blurRad="6350" stA="50000" endA="300" endPos="550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grpSp>
      <p:grpSp>
        <p:nvGrpSpPr>
          <p:cNvPr id="181" name="Group 180"/>
          <p:cNvGrpSpPr/>
          <p:nvPr/>
        </p:nvGrpSpPr>
        <p:grpSpPr>
          <a:xfrm>
            <a:off x="9237358" y="3560462"/>
            <a:ext cx="1055609" cy="1540540"/>
            <a:chOff x="9373705" y="3281524"/>
            <a:chExt cx="1055609" cy="1540540"/>
          </a:xfrm>
        </p:grpSpPr>
        <p:sp>
          <p:nvSpPr>
            <p:cNvPr id="182" name="Rectangle 181"/>
            <p:cNvSpPr/>
            <p:nvPr/>
          </p:nvSpPr>
          <p:spPr>
            <a:xfrm>
              <a:off x="9424913" y="3281524"/>
              <a:ext cx="1004401" cy="1540540"/>
            </a:xfrm>
            <a:prstGeom prst="rect">
              <a:avLst/>
            </a:prstGeom>
            <a:gradFill>
              <a:gsLst>
                <a:gs pos="70000">
                  <a:srgbClr val="FFFFFF"/>
                </a:gs>
                <a:gs pos="100000">
                  <a:srgbClr val="69B8D6">
                    <a:lumMod val="45000"/>
                    <a:lumOff val="55000"/>
                  </a:srgbClr>
                </a:gs>
              </a:gsLst>
              <a:lin ang="5400000" scaled="1"/>
            </a:gradFill>
            <a:ln w="12700" cap="flat" cmpd="sng" algn="ctr">
              <a:noFill/>
              <a:prstDash val="solid"/>
              <a:miter lim="800000"/>
            </a:ln>
            <a:effectLst/>
          </p:spPr>
          <p:txBody>
            <a:bodyPr rtlCol="0" anchor="ctr"/>
            <a:lstStyle/>
            <a:p>
              <a:pPr algn="ctr">
                <a:defRPr/>
              </a:pPr>
              <a:endParaRPr lang="en-GB" kern="0" dirty="0">
                <a:solidFill>
                  <a:srgbClr val="FFFFFF"/>
                </a:solidFill>
                <a:latin typeface="Zetta Sans Book"/>
              </a:endParaRPr>
            </a:p>
          </p:txBody>
        </p:sp>
        <p:grpSp>
          <p:nvGrpSpPr>
            <p:cNvPr id="183" name="Group 182"/>
            <p:cNvGrpSpPr/>
            <p:nvPr/>
          </p:nvGrpSpPr>
          <p:grpSpPr>
            <a:xfrm>
              <a:off x="9373705" y="3771526"/>
              <a:ext cx="1020848" cy="1049122"/>
              <a:chOff x="2216039" y="1592108"/>
              <a:chExt cx="484214" cy="497625"/>
            </a:xfrm>
          </p:grpSpPr>
          <p:sp>
            <p:nvSpPr>
              <p:cNvPr id="184" name="Freeform 6"/>
              <p:cNvSpPr>
                <a:spLocks noEditPoints="1"/>
              </p:cNvSpPr>
              <p:nvPr/>
            </p:nvSpPr>
            <p:spPr bwMode="auto">
              <a:xfrm>
                <a:off x="2216039" y="1592108"/>
                <a:ext cx="484214" cy="232225"/>
              </a:xfrm>
              <a:custGeom>
                <a:avLst/>
                <a:gdLst/>
                <a:ahLst/>
                <a:cxnLst>
                  <a:cxn ang="0">
                    <a:pos x="1210" y="0"/>
                  </a:cxn>
                  <a:cxn ang="0">
                    <a:pos x="1131" y="484"/>
                  </a:cxn>
                  <a:cxn ang="0">
                    <a:pos x="931" y="245"/>
                  </a:cxn>
                  <a:cxn ang="0">
                    <a:pos x="525" y="381"/>
                  </a:cxn>
                  <a:cxn ang="0">
                    <a:pos x="378" y="173"/>
                  </a:cxn>
                  <a:cxn ang="0">
                    <a:pos x="340" y="543"/>
                  </a:cxn>
                  <a:cxn ang="0">
                    <a:pos x="429" y="658"/>
                  </a:cxn>
                  <a:cxn ang="0">
                    <a:pos x="1372" y="543"/>
                  </a:cxn>
                  <a:cxn ang="0">
                    <a:pos x="437" y="306"/>
                  </a:cxn>
                  <a:cxn ang="0">
                    <a:pos x="435" y="266"/>
                  </a:cxn>
                  <a:cxn ang="0">
                    <a:pos x="432" y="226"/>
                  </a:cxn>
                  <a:cxn ang="0">
                    <a:pos x="428" y="187"/>
                  </a:cxn>
                  <a:cxn ang="0">
                    <a:pos x="382" y="183"/>
                  </a:cxn>
                  <a:cxn ang="0">
                    <a:pos x="380" y="220"/>
                  </a:cxn>
                  <a:cxn ang="0">
                    <a:pos x="406" y="241"/>
                  </a:cxn>
                  <a:cxn ang="0">
                    <a:pos x="403" y="242"/>
                  </a:cxn>
                  <a:cxn ang="0">
                    <a:pos x="435" y="263"/>
                  </a:cxn>
                  <a:cxn ang="0">
                    <a:pos x="377" y="266"/>
                  </a:cxn>
                  <a:cxn ang="0">
                    <a:pos x="406" y="284"/>
                  </a:cxn>
                  <a:cxn ang="0">
                    <a:pos x="406" y="284"/>
                  </a:cxn>
                  <a:cxn ang="0">
                    <a:pos x="374" y="306"/>
                  </a:cxn>
                  <a:cxn ang="0">
                    <a:pos x="372" y="341"/>
                  </a:cxn>
                  <a:cxn ang="0">
                    <a:pos x="369" y="378"/>
                  </a:cxn>
                  <a:cxn ang="0">
                    <a:pos x="441" y="381"/>
                  </a:cxn>
                  <a:cxn ang="0">
                    <a:pos x="442" y="378"/>
                  </a:cxn>
                  <a:cxn ang="0">
                    <a:pos x="1317" y="490"/>
                  </a:cxn>
                  <a:cxn ang="0">
                    <a:pos x="1313" y="432"/>
                  </a:cxn>
                  <a:cxn ang="0">
                    <a:pos x="1309" y="373"/>
                  </a:cxn>
                  <a:cxn ang="0">
                    <a:pos x="1305" y="314"/>
                  </a:cxn>
                  <a:cxn ang="0">
                    <a:pos x="1300" y="256"/>
                  </a:cxn>
                  <a:cxn ang="0">
                    <a:pos x="1296" y="198"/>
                  </a:cxn>
                  <a:cxn ang="0">
                    <a:pos x="1292" y="139"/>
                  </a:cxn>
                  <a:cxn ang="0">
                    <a:pos x="1288" y="80"/>
                  </a:cxn>
                  <a:cxn ang="0">
                    <a:pos x="1283" y="21"/>
                  </a:cxn>
                  <a:cxn ang="0">
                    <a:pos x="1216" y="17"/>
                  </a:cxn>
                  <a:cxn ang="0">
                    <a:pos x="1212" y="69"/>
                  </a:cxn>
                  <a:cxn ang="0">
                    <a:pos x="1249" y="102"/>
                  </a:cxn>
                  <a:cxn ang="0">
                    <a:pos x="1246" y="105"/>
                  </a:cxn>
                  <a:cxn ang="0">
                    <a:pos x="1292" y="133"/>
                  </a:cxn>
                  <a:cxn ang="0">
                    <a:pos x="1207" y="139"/>
                  </a:cxn>
                  <a:cxn ang="0">
                    <a:pos x="1249" y="165"/>
                  </a:cxn>
                  <a:cxn ang="0">
                    <a:pos x="1249" y="165"/>
                  </a:cxn>
                  <a:cxn ang="0">
                    <a:pos x="1203" y="198"/>
                  </a:cxn>
                  <a:cxn ang="0">
                    <a:pos x="1199" y="251"/>
                  </a:cxn>
                  <a:cxn ang="0">
                    <a:pos x="1195" y="305"/>
                  </a:cxn>
                  <a:cxn ang="0">
                    <a:pos x="1304" y="309"/>
                  </a:cxn>
                  <a:cxn ang="0">
                    <a:pos x="1194" y="314"/>
                  </a:cxn>
                  <a:cxn ang="0">
                    <a:pos x="1249" y="341"/>
                  </a:cxn>
                  <a:cxn ang="0">
                    <a:pos x="1249" y="341"/>
                  </a:cxn>
                  <a:cxn ang="0">
                    <a:pos x="1190" y="373"/>
                  </a:cxn>
                  <a:cxn ang="0">
                    <a:pos x="1186" y="426"/>
                  </a:cxn>
                  <a:cxn ang="0">
                    <a:pos x="1182" y="480"/>
                  </a:cxn>
                  <a:cxn ang="0">
                    <a:pos x="1249" y="511"/>
                  </a:cxn>
                  <a:cxn ang="0">
                    <a:pos x="1242" y="514"/>
                  </a:cxn>
                  <a:cxn ang="0">
                    <a:pos x="1318" y="543"/>
                  </a:cxn>
                </a:cxnLst>
                <a:rect l="0" t="0" r="r" b="b"/>
                <a:pathLst>
                  <a:path w="1372" h="658">
                    <a:moveTo>
                      <a:pt x="1335" y="543"/>
                    </a:moveTo>
                    <a:lnTo>
                      <a:pt x="1290" y="17"/>
                    </a:lnTo>
                    <a:lnTo>
                      <a:pt x="1290" y="0"/>
                    </a:lnTo>
                    <a:lnTo>
                      <a:pt x="1210" y="0"/>
                    </a:lnTo>
                    <a:lnTo>
                      <a:pt x="1210" y="17"/>
                    </a:lnTo>
                    <a:lnTo>
                      <a:pt x="1164" y="543"/>
                    </a:lnTo>
                    <a:lnTo>
                      <a:pt x="1131" y="543"/>
                    </a:lnTo>
                    <a:lnTo>
                      <a:pt x="1131" y="484"/>
                    </a:lnTo>
                    <a:lnTo>
                      <a:pt x="820" y="484"/>
                    </a:lnTo>
                    <a:lnTo>
                      <a:pt x="820" y="271"/>
                    </a:lnTo>
                    <a:lnTo>
                      <a:pt x="931" y="271"/>
                    </a:lnTo>
                    <a:lnTo>
                      <a:pt x="931" y="245"/>
                    </a:lnTo>
                    <a:lnTo>
                      <a:pt x="724" y="245"/>
                    </a:lnTo>
                    <a:lnTo>
                      <a:pt x="724" y="271"/>
                    </a:lnTo>
                    <a:lnTo>
                      <a:pt x="525" y="271"/>
                    </a:lnTo>
                    <a:lnTo>
                      <a:pt x="525" y="381"/>
                    </a:lnTo>
                    <a:lnTo>
                      <a:pt x="449" y="381"/>
                    </a:lnTo>
                    <a:lnTo>
                      <a:pt x="432" y="183"/>
                    </a:lnTo>
                    <a:lnTo>
                      <a:pt x="432" y="173"/>
                    </a:lnTo>
                    <a:lnTo>
                      <a:pt x="378" y="173"/>
                    </a:lnTo>
                    <a:lnTo>
                      <a:pt x="378" y="183"/>
                    </a:lnTo>
                    <a:lnTo>
                      <a:pt x="361" y="381"/>
                    </a:lnTo>
                    <a:lnTo>
                      <a:pt x="340" y="381"/>
                    </a:lnTo>
                    <a:lnTo>
                      <a:pt x="340" y="543"/>
                    </a:lnTo>
                    <a:lnTo>
                      <a:pt x="0" y="543"/>
                    </a:lnTo>
                    <a:lnTo>
                      <a:pt x="0" y="602"/>
                    </a:lnTo>
                    <a:lnTo>
                      <a:pt x="429" y="602"/>
                    </a:lnTo>
                    <a:lnTo>
                      <a:pt x="429" y="658"/>
                    </a:lnTo>
                    <a:lnTo>
                      <a:pt x="1169" y="658"/>
                    </a:lnTo>
                    <a:lnTo>
                      <a:pt x="1169" y="602"/>
                    </a:lnTo>
                    <a:lnTo>
                      <a:pt x="1372" y="602"/>
                    </a:lnTo>
                    <a:lnTo>
                      <a:pt x="1372" y="543"/>
                    </a:lnTo>
                    <a:lnTo>
                      <a:pt x="1335" y="543"/>
                    </a:lnTo>
                    <a:close/>
                    <a:moveTo>
                      <a:pt x="440" y="339"/>
                    </a:moveTo>
                    <a:lnTo>
                      <a:pt x="408" y="322"/>
                    </a:lnTo>
                    <a:lnTo>
                      <a:pt x="437" y="306"/>
                    </a:lnTo>
                    <a:lnTo>
                      <a:pt x="440" y="339"/>
                    </a:lnTo>
                    <a:close/>
                    <a:moveTo>
                      <a:pt x="437" y="298"/>
                    </a:moveTo>
                    <a:lnTo>
                      <a:pt x="408" y="283"/>
                    </a:lnTo>
                    <a:lnTo>
                      <a:pt x="435" y="266"/>
                    </a:lnTo>
                    <a:lnTo>
                      <a:pt x="437" y="298"/>
                    </a:lnTo>
                    <a:close/>
                    <a:moveTo>
                      <a:pt x="433" y="259"/>
                    </a:moveTo>
                    <a:lnTo>
                      <a:pt x="408" y="242"/>
                    </a:lnTo>
                    <a:lnTo>
                      <a:pt x="432" y="226"/>
                    </a:lnTo>
                    <a:lnTo>
                      <a:pt x="433" y="259"/>
                    </a:lnTo>
                    <a:close/>
                    <a:moveTo>
                      <a:pt x="431" y="220"/>
                    </a:moveTo>
                    <a:lnTo>
                      <a:pt x="408" y="203"/>
                    </a:lnTo>
                    <a:lnTo>
                      <a:pt x="428" y="187"/>
                    </a:lnTo>
                    <a:lnTo>
                      <a:pt x="431" y="220"/>
                    </a:lnTo>
                    <a:close/>
                    <a:moveTo>
                      <a:pt x="428" y="183"/>
                    </a:moveTo>
                    <a:lnTo>
                      <a:pt x="406" y="201"/>
                    </a:lnTo>
                    <a:lnTo>
                      <a:pt x="382" y="183"/>
                    </a:lnTo>
                    <a:lnTo>
                      <a:pt x="428" y="183"/>
                    </a:lnTo>
                    <a:close/>
                    <a:moveTo>
                      <a:pt x="382" y="187"/>
                    </a:moveTo>
                    <a:lnTo>
                      <a:pt x="403" y="203"/>
                    </a:lnTo>
                    <a:lnTo>
                      <a:pt x="380" y="220"/>
                    </a:lnTo>
                    <a:lnTo>
                      <a:pt x="382" y="187"/>
                    </a:lnTo>
                    <a:close/>
                    <a:moveTo>
                      <a:pt x="406" y="204"/>
                    </a:moveTo>
                    <a:lnTo>
                      <a:pt x="431" y="222"/>
                    </a:lnTo>
                    <a:lnTo>
                      <a:pt x="406" y="241"/>
                    </a:lnTo>
                    <a:lnTo>
                      <a:pt x="380" y="222"/>
                    </a:lnTo>
                    <a:lnTo>
                      <a:pt x="406" y="204"/>
                    </a:lnTo>
                    <a:close/>
                    <a:moveTo>
                      <a:pt x="380" y="226"/>
                    </a:moveTo>
                    <a:lnTo>
                      <a:pt x="403" y="242"/>
                    </a:lnTo>
                    <a:lnTo>
                      <a:pt x="377" y="259"/>
                    </a:lnTo>
                    <a:lnTo>
                      <a:pt x="380" y="226"/>
                    </a:lnTo>
                    <a:close/>
                    <a:moveTo>
                      <a:pt x="406" y="245"/>
                    </a:moveTo>
                    <a:lnTo>
                      <a:pt x="435" y="263"/>
                    </a:lnTo>
                    <a:lnTo>
                      <a:pt x="406" y="281"/>
                    </a:lnTo>
                    <a:lnTo>
                      <a:pt x="377" y="263"/>
                    </a:lnTo>
                    <a:lnTo>
                      <a:pt x="406" y="245"/>
                    </a:lnTo>
                    <a:close/>
                    <a:moveTo>
                      <a:pt x="377" y="266"/>
                    </a:moveTo>
                    <a:lnTo>
                      <a:pt x="403" y="283"/>
                    </a:lnTo>
                    <a:lnTo>
                      <a:pt x="374" y="298"/>
                    </a:lnTo>
                    <a:lnTo>
                      <a:pt x="377" y="266"/>
                    </a:lnTo>
                    <a:close/>
                    <a:moveTo>
                      <a:pt x="406" y="284"/>
                    </a:moveTo>
                    <a:lnTo>
                      <a:pt x="437" y="302"/>
                    </a:lnTo>
                    <a:lnTo>
                      <a:pt x="406" y="320"/>
                    </a:lnTo>
                    <a:lnTo>
                      <a:pt x="374" y="302"/>
                    </a:lnTo>
                    <a:lnTo>
                      <a:pt x="406" y="284"/>
                    </a:lnTo>
                    <a:close/>
                    <a:moveTo>
                      <a:pt x="374" y="306"/>
                    </a:moveTo>
                    <a:lnTo>
                      <a:pt x="402" y="322"/>
                    </a:lnTo>
                    <a:lnTo>
                      <a:pt x="372" y="339"/>
                    </a:lnTo>
                    <a:lnTo>
                      <a:pt x="374" y="306"/>
                    </a:lnTo>
                    <a:close/>
                    <a:moveTo>
                      <a:pt x="406" y="323"/>
                    </a:moveTo>
                    <a:lnTo>
                      <a:pt x="440" y="341"/>
                    </a:lnTo>
                    <a:lnTo>
                      <a:pt x="406" y="360"/>
                    </a:lnTo>
                    <a:lnTo>
                      <a:pt x="372" y="341"/>
                    </a:lnTo>
                    <a:lnTo>
                      <a:pt x="406" y="323"/>
                    </a:lnTo>
                    <a:close/>
                    <a:moveTo>
                      <a:pt x="370" y="345"/>
                    </a:moveTo>
                    <a:lnTo>
                      <a:pt x="402" y="361"/>
                    </a:lnTo>
                    <a:lnTo>
                      <a:pt x="369" y="378"/>
                    </a:lnTo>
                    <a:lnTo>
                      <a:pt x="370" y="345"/>
                    </a:lnTo>
                    <a:close/>
                    <a:moveTo>
                      <a:pt x="369" y="381"/>
                    </a:moveTo>
                    <a:lnTo>
                      <a:pt x="406" y="364"/>
                    </a:lnTo>
                    <a:lnTo>
                      <a:pt x="441" y="381"/>
                    </a:lnTo>
                    <a:lnTo>
                      <a:pt x="369" y="381"/>
                    </a:lnTo>
                    <a:close/>
                    <a:moveTo>
                      <a:pt x="408" y="361"/>
                    </a:moveTo>
                    <a:lnTo>
                      <a:pt x="440" y="345"/>
                    </a:lnTo>
                    <a:lnTo>
                      <a:pt x="442" y="378"/>
                    </a:lnTo>
                    <a:lnTo>
                      <a:pt x="408" y="361"/>
                    </a:lnTo>
                    <a:close/>
                    <a:moveTo>
                      <a:pt x="1321" y="539"/>
                    </a:moveTo>
                    <a:lnTo>
                      <a:pt x="1255" y="514"/>
                    </a:lnTo>
                    <a:lnTo>
                      <a:pt x="1317" y="490"/>
                    </a:lnTo>
                    <a:lnTo>
                      <a:pt x="1321" y="539"/>
                    </a:lnTo>
                    <a:close/>
                    <a:moveTo>
                      <a:pt x="1317" y="480"/>
                    </a:moveTo>
                    <a:lnTo>
                      <a:pt x="1255" y="455"/>
                    </a:lnTo>
                    <a:lnTo>
                      <a:pt x="1313" y="432"/>
                    </a:lnTo>
                    <a:lnTo>
                      <a:pt x="1317" y="480"/>
                    </a:lnTo>
                    <a:close/>
                    <a:moveTo>
                      <a:pt x="1313" y="421"/>
                    </a:moveTo>
                    <a:lnTo>
                      <a:pt x="1255" y="398"/>
                    </a:lnTo>
                    <a:lnTo>
                      <a:pt x="1309" y="373"/>
                    </a:lnTo>
                    <a:lnTo>
                      <a:pt x="1313" y="421"/>
                    </a:lnTo>
                    <a:close/>
                    <a:moveTo>
                      <a:pt x="1308" y="362"/>
                    </a:moveTo>
                    <a:lnTo>
                      <a:pt x="1255" y="339"/>
                    </a:lnTo>
                    <a:lnTo>
                      <a:pt x="1305" y="314"/>
                    </a:lnTo>
                    <a:lnTo>
                      <a:pt x="1308" y="362"/>
                    </a:lnTo>
                    <a:close/>
                    <a:moveTo>
                      <a:pt x="1304" y="305"/>
                    </a:moveTo>
                    <a:lnTo>
                      <a:pt x="1254" y="280"/>
                    </a:lnTo>
                    <a:lnTo>
                      <a:pt x="1300" y="256"/>
                    </a:lnTo>
                    <a:lnTo>
                      <a:pt x="1304" y="305"/>
                    </a:lnTo>
                    <a:close/>
                    <a:moveTo>
                      <a:pt x="1300" y="246"/>
                    </a:moveTo>
                    <a:lnTo>
                      <a:pt x="1254" y="221"/>
                    </a:lnTo>
                    <a:lnTo>
                      <a:pt x="1296" y="198"/>
                    </a:lnTo>
                    <a:lnTo>
                      <a:pt x="1300" y="246"/>
                    </a:lnTo>
                    <a:close/>
                    <a:moveTo>
                      <a:pt x="1296" y="187"/>
                    </a:moveTo>
                    <a:lnTo>
                      <a:pt x="1254" y="162"/>
                    </a:lnTo>
                    <a:lnTo>
                      <a:pt x="1292" y="139"/>
                    </a:lnTo>
                    <a:lnTo>
                      <a:pt x="1296" y="187"/>
                    </a:lnTo>
                    <a:close/>
                    <a:moveTo>
                      <a:pt x="1291" y="128"/>
                    </a:moveTo>
                    <a:lnTo>
                      <a:pt x="1253" y="105"/>
                    </a:lnTo>
                    <a:lnTo>
                      <a:pt x="1288" y="80"/>
                    </a:lnTo>
                    <a:lnTo>
                      <a:pt x="1291" y="128"/>
                    </a:lnTo>
                    <a:close/>
                    <a:moveTo>
                      <a:pt x="1287" y="69"/>
                    </a:moveTo>
                    <a:lnTo>
                      <a:pt x="1253" y="46"/>
                    </a:lnTo>
                    <a:lnTo>
                      <a:pt x="1283" y="21"/>
                    </a:lnTo>
                    <a:lnTo>
                      <a:pt x="1287" y="69"/>
                    </a:lnTo>
                    <a:close/>
                    <a:moveTo>
                      <a:pt x="1283" y="17"/>
                    </a:moveTo>
                    <a:lnTo>
                      <a:pt x="1249" y="43"/>
                    </a:lnTo>
                    <a:lnTo>
                      <a:pt x="1216" y="17"/>
                    </a:lnTo>
                    <a:lnTo>
                      <a:pt x="1283" y="17"/>
                    </a:lnTo>
                    <a:close/>
                    <a:moveTo>
                      <a:pt x="1216" y="21"/>
                    </a:moveTo>
                    <a:lnTo>
                      <a:pt x="1246" y="46"/>
                    </a:lnTo>
                    <a:lnTo>
                      <a:pt x="1212" y="69"/>
                    </a:lnTo>
                    <a:lnTo>
                      <a:pt x="1216" y="21"/>
                    </a:lnTo>
                    <a:close/>
                    <a:moveTo>
                      <a:pt x="1249" y="48"/>
                    </a:moveTo>
                    <a:lnTo>
                      <a:pt x="1287" y="75"/>
                    </a:lnTo>
                    <a:lnTo>
                      <a:pt x="1249" y="102"/>
                    </a:lnTo>
                    <a:lnTo>
                      <a:pt x="1212" y="75"/>
                    </a:lnTo>
                    <a:lnTo>
                      <a:pt x="1249" y="48"/>
                    </a:lnTo>
                    <a:close/>
                    <a:moveTo>
                      <a:pt x="1211" y="80"/>
                    </a:moveTo>
                    <a:lnTo>
                      <a:pt x="1246" y="105"/>
                    </a:lnTo>
                    <a:lnTo>
                      <a:pt x="1208" y="128"/>
                    </a:lnTo>
                    <a:lnTo>
                      <a:pt x="1211" y="80"/>
                    </a:lnTo>
                    <a:close/>
                    <a:moveTo>
                      <a:pt x="1249" y="107"/>
                    </a:moveTo>
                    <a:lnTo>
                      <a:pt x="1292" y="133"/>
                    </a:lnTo>
                    <a:lnTo>
                      <a:pt x="1249" y="161"/>
                    </a:lnTo>
                    <a:lnTo>
                      <a:pt x="1207" y="133"/>
                    </a:lnTo>
                    <a:lnTo>
                      <a:pt x="1249" y="107"/>
                    </a:lnTo>
                    <a:close/>
                    <a:moveTo>
                      <a:pt x="1207" y="139"/>
                    </a:moveTo>
                    <a:lnTo>
                      <a:pt x="1245" y="162"/>
                    </a:lnTo>
                    <a:lnTo>
                      <a:pt x="1203" y="187"/>
                    </a:lnTo>
                    <a:lnTo>
                      <a:pt x="1207" y="139"/>
                    </a:lnTo>
                    <a:close/>
                    <a:moveTo>
                      <a:pt x="1249" y="165"/>
                    </a:moveTo>
                    <a:lnTo>
                      <a:pt x="1296" y="192"/>
                    </a:lnTo>
                    <a:lnTo>
                      <a:pt x="1249" y="218"/>
                    </a:lnTo>
                    <a:lnTo>
                      <a:pt x="1203" y="192"/>
                    </a:lnTo>
                    <a:lnTo>
                      <a:pt x="1249" y="165"/>
                    </a:lnTo>
                    <a:close/>
                    <a:moveTo>
                      <a:pt x="1203" y="198"/>
                    </a:moveTo>
                    <a:lnTo>
                      <a:pt x="1245" y="221"/>
                    </a:lnTo>
                    <a:lnTo>
                      <a:pt x="1199" y="246"/>
                    </a:lnTo>
                    <a:lnTo>
                      <a:pt x="1203" y="198"/>
                    </a:lnTo>
                    <a:close/>
                    <a:moveTo>
                      <a:pt x="1249" y="224"/>
                    </a:moveTo>
                    <a:lnTo>
                      <a:pt x="1300" y="251"/>
                    </a:lnTo>
                    <a:lnTo>
                      <a:pt x="1249" y="277"/>
                    </a:lnTo>
                    <a:lnTo>
                      <a:pt x="1199" y="251"/>
                    </a:lnTo>
                    <a:lnTo>
                      <a:pt x="1249" y="224"/>
                    </a:lnTo>
                    <a:close/>
                    <a:moveTo>
                      <a:pt x="1199" y="256"/>
                    </a:moveTo>
                    <a:lnTo>
                      <a:pt x="1245" y="280"/>
                    </a:lnTo>
                    <a:lnTo>
                      <a:pt x="1195" y="305"/>
                    </a:lnTo>
                    <a:lnTo>
                      <a:pt x="1199" y="256"/>
                    </a:lnTo>
                    <a:close/>
                    <a:moveTo>
                      <a:pt x="1195" y="309"/>
                    </a:moveTo>
                    <a:lnTo>
                      <a:pt x="1249" y="283"/>
                    </a:lnTo>
                    <a:lnTo>
                      <a:pt x="1304" y="309"/>
                    </a:lnTo>
                    <a:lnTo>
                      <a:pt x="1249" y="336"/>
                    </a:lnTo>
                    <a:lnTo>
                      <a:pt x="1195" y="309"/>
                    </a:lnTo>
                    <a:lnTo>
                      <a:pt x="1195" y="309"/>
                    </a:lnTo>
                    <a:close/>
                    <a:moveTo>
                      <a:pt x="1194" y="314"/>
                    </a:moveTo>
                    <a:lnTo>
                      <a:pt x="1244" y="339"/>
                    </a:lnTo>
                    <a:lnTo>
                      <a:pt x="1191" y="362"/>
                    </a:lnTo>
                    <a:lnTo>
                      <a:pt x="1194" y="314"/>
                    </a:lnTo>
                    <a:close/>
                    <a:moveTo>
                      <a:pt x="1249" y="341"/>
                    </a:moveTo>
                    <a:lnTo>
                      <a:pt x="1309" y="368"/>
                    </a:lnTo>
                    <a:lnTo>
                      <a:pt x="1249" y="395"/>
                    </a:lnTo>
                    <a:lnTo>
                      <a:pt x="1190" y="368"/>
                    </a:lnTo>
                    <a:lnTo>
                      <a:pt x="1249" y="341"/>
                    </a:lnTo>
                    <a:close/>
                    <a:moveTo>
                      <a:pt x="1190" y="373"/>
                    </a:moveTo>
                    <a:lnTo>
                      <a:pt x="1244" y="398"/>
                    </a:lnTo>
                    <a:lnTo>
                      <a:pt x="1186" y="421"/>
                    </a:lnTo>
                    <a:lnTo>
                      <a:pt x="1190" y="373"/>
                    </a:lnTo>
                    <a:close/>
                    <a:moveTo>
                      <a:pt x="1249" y="400"/>
                    </a:moveTo>
                    <a:lnTo>
                      <a:pt x="1313" y="426"/>
                    </a:lnTo>
                    <a:lnTo>
                      <a:pt x="1249" y="453"/>
                    </a:lnTo>
                    <a:lnTo>
                      <a:pt x="1186" y="426"/>
                    </a:lnTo>
                    <a:lnTo>
                      <a:pt x="1249" y="400"/>
                    </a:lnTo>
                    <a:close/>
                    <a:moveTo>
                      <a:pt x="1186" y="432"/>
                    </a:moveTo>
                    <a:lnTo>
                      <a:pt x="1244" y="455"/>
                    </a:lnTo>
                    <a:lnTo>
                      <a:pt x="1182" y="480"/>
                    </a:lnTo>
                    <a:lnTo>
                      <a:pt x="1186" y="432"/>
                    </a:lnTo>
                    <a:close/>
                    <a:moveTo>
                      <a:pt x="1249" y="458"/>
                    </a:moveTo>
                    <a:lnTo>
                      <a:pt x="1317" y="485"/>
                    </a:lnTo>
                    <a:lnTo>
                      <a:pt x="1249" y="511"/>
                    </a:lnTo>
                    <a:lnTo>
                      <a:pt x="1182" y="485"/>
                    </a:lnTo>
                    <a:lnTo>
                      <a:pt x="1249" y="458"/>
                    </a:lnTo>
                    <a:close/>
                    <a:moveTo>
                      <a:pt x="1182" y="490"/>
                    </a:moveTo>
                    <a:lnTo>
                      <a:pt x="1242" y="514"/>
                    </a:lnTo>
                    <a:lnTo>
                      <a:pt x="1178" y="539"/>
                    </a:lnTo>
                    <a:lnTo>
                      <a:pt x="1182" y="490"/>
                    </a:lnTo>
                    <a:close/>
                    <a:moveTo>
                      <a:pt x="1249" y="517"/>
                    </a:moveTo>
                    <a:lnTo>
                      <a:pt x="1318" y="543"/>
                    </a:lnTo>
                    <a:lnTo>
                      <a:pt x="1181" y="543"/>
                    </a:lnTo>
                    <a:lnTo>
                      <a:pt x="1249" y="517"/>
                    </a:lnTo>
                    <a:close/>
                  </a:path>
                </a:pathLst>
              </a:custGeom>
              <a:solidFill>
                <a:srgbClr val="004E6B"/>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85" name="Freeform 7"/>
              <p:cNvSpPr>
                <a:spLocks/>
              </p:cNvSpPr>
              <p:nvPr/>
            </p:nvSpPr>
            <p:spPr bwMode="auto">
              <a:xfrm>
                <a:off x="2367797" y="1829274"/>
                <a:ext cx="261165" cy="260459"/>
              </a:xfrm>
              <a:custGeom>
                <a:avLst/>
                <a:gdLst/>
                <a:ahLst/>
                <a:cxnLst>
                  <a:cxn ang="0">
                    <a:pos x="0" y="80"/>
                  </a:cxn>
                  <a:cxn ang="0">
                    <a:pos x="203" y="80"/>
                  </a:cxn>
                  <a:cxn ang="0">
                    <a:pos x="291" y="187"/>
                  </a:cxn>
                  <a:cxn ang="0">
                    <a:pos x="291" y="738"/>
                  </a:cxn>
                  <a:cxn ang="0">
                    <a:pos x="491" y="738"/>
                  </a:cxn>
                  <a:cxn ang="0">
                    <a:pos x="491" y="187"/>
                  </a:cxn>
                  <a:cxn ang="0">
                    <a:pos x="490" y="187"/>
                  </a:cxn>
                  <a:cxn ang="0">
                    <a:pos x="576" y="80"/>
                  </a:cxn>
                  <a:cxn ang="0">
                    <a:pos x="740" y="80"/>
                  </a:cxn>
                  <a:cxn ang="0">
                    <a:pos x="740" y="0"/>
                  </a:cxn>
                  <a:cxn ang="0">
                    <a:pos x="0" y="0"/>
                  </a:cxn>
                  <a:cxn ang="0">
                    <a:pos x="0" y="80"/>
                  </a:cxn>
                </a:cxnLst>
                <a:rect l="0" t="0" r="r" b="b"/>
                <a:pathLst>
                  <a:path w="740" h="738">
                    <a:moveTo>
                      <a:pt x="0" y="80"/>
                    </a:moveTo>
                    <a:lnTo>
                      <a:pt x="203" y="80"/>
                    </a:lnTo>
                    <a:lnTo>
                      <a:pt x="291" y="187"/>
                    </a:lnTo>
                    <a:lnTo>
                      <a:pt x="291" y="738"/>
                    </a:lnTo>
                    <a:lnTo>
                      <a:pt x="491" y="738"/>
                    </a:lnTo>
                    <a:lnTo>
                      <a:pt x="491" y="187"/>
                    </a:lnTo>
                    <a:lnTo>
                      <a:pt x="490" y="187"/>
                    </a:lnTo>
                    <a:lnTo>
                      <a:pt x="576" y="80"/>
                    </a:lnTo>
                    <a:lnTo>
                      <a:pt x="740" y="80"/>
                    </a:lnTo>
                    <a:lnTo>
                      <a:pt x="740" y="0"/>
                    </a:lnTo>
                    <a:lnTo>
                      <a:pt x="0" y="0"/>
                    </a:lnTo>
                    <a:lnTo>
                      <a:pt x="0" y="80"/>
                    </a:lnTo>
                    <a:close/>
                  </a:path>
                </a:pathLst>
              </a:custGeom>
              <a:solidFill>
                <a:srgbClr val="004E6B"/>
              </a:solidFill>
              <a:ln w="9525">
                <a:noFill/>
                <a:round/>
                <a:headEnd/>
                <a:tailEnd/>
              </a:ln>
              <a:effectLst>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grpSp>
      </p:grpSp>
      <p:sp>
        <p:nvSpPr>
          <p:cNvPr id="186" name="Rectangle 185"/>
          <p:cNvSpPr/>
          <p:nvPr/>
        </p:nvSpPr>
        <p:spPr>
          <a:xfrm>
            <a:off x="8033845" y="3547581"/>
            <a:ext cx="1082539" cy="1531592"/>
          </a:xfrm>
          <a:prstGeom prst="rect">
            <a:avLst/>
          </a:prstGeom>
          <a:gradFill>
            <a:gsLst>
              <a:gs pos="70000">
                <a:srgbClr val="FFFFFF"/>
              </a:gs>
              <a:gs pos="100000">
                <a:srgbClr val="69B8D6">
                  <a:lumMod val="45000"/>
                  <a:lumOff val="55000"/>
                </a:srgbClr>
              </a:gs>
            </a:gsLst>
            <a:lin ang="5400000" scaled="1"/>
          </a:gradFill>
          <a:ln w="12700" cap="flat" cmpd="sng" algn="ctr">
            <a:noFill/>
            <a:prstDash val="solid"/>
            <a:miter lim="800000"/>
          </a:ln>
          <a:effectLst/>
        </p:spPr>
        <p:txBody>
          <a:bodyPr rtlCol="0" anchor="ctr"/>
          <a:lstStyle/>
          <a:p>
            <a:pPr algn="ctr">
              <a:defRPr/>
            </a:pPr>
            <a:endParaRPr lang="en-GB" kern="0" dirty="0">
              <a:solidFill>
                <a:srgbClr val="FFFFFF"/>
              </a:solidFill>
              <a:latin typeface="Zetta Sans Book"/>
            </a:endParaRPr>
          </a:p>
        </p:txBody>
      </p:sp>
      <p:grpSp>
        <p:nvGrpSpPr>
          <p:cNvPr id="187" name="Group 186"/>
          <p:cNvGrpSpPr/>
          <p:nvPr/>
        </p:nvGrpSpPr>
        <p:grpSpPr>
          <a:xfrm>
            <a:off x="8020966" y="4000852"/>
            <a:ext cx="1035828" cy="1091201"/>
            <a:chOff x="1655564" y="1371294"/>
            <a:chExt cx="974472" cy="1026566"/>
          </a:xfrm>
        </p:grpSpPr>
        <p:sp>
          <p:nvSpPr>
            <p:cNvPr id="188" name="Freeform 187"/>
            <p:cNvSpPr>
              <a:spLocks noEditPoints="1"/>
            </p:cNvSpPr>
            <p:nvPr/>
          </p:nvSpPr>
          <p:spPr bwMode="auto">
            <a:xfrm>
              <a:off x="1856281" y="1953525"/>
              <a:ext cx="606747" cy="444335"/>
            </a:xfrm>
            <a:custGeom>
              <a:avLst/>
              <a:gdLst/>
              <a:ahLst/>
              <a:cxnLst>
                <a:cxn ang="0">
                  <a:pos x="73" y="390"/>
                </a:cxn>
                <a:cxn ang="0">
                  <a:pos x="144" y="550"/>
                </a:cxn>
                <a:cxn ang="0">
                  <a:pos x="576" y="77"/>
                </a:cxn>
                <a:cxn ang="0">
                  <a:pos x="707" y="579"/>
                </a:cxn>
                <a:cxn ang="0">
                  <a:pos x="793" y="0"/>
                </a:cxn>
                <a:cxn ang="0">
                  <a:pos x="138" y="107"/>
                </a:cxn>
                <a:cxn ang="0">
                  <a:pos x="138" y="170"/>
                </a:cxn>
                <a:cxn ang="0">
                  <a:pos x="138" y="233"/>
                </a:cxn>
                <a:cxn ang="0">
                  <a:pos x="138" y="296"/>
                </a:cxn>
                <a:cxn ang="0">
                  <a:pos x="138" y="359"/>
                </a:cxn>
                <a:cxn ang="0">
                  <a:pos x="138" y="422"/>
                </a:cxn>
                <a:cxn ang="0">
                  <a:pos x="138" y="485"/>
                </a:cxn>
                <a:cxn ang="0">
                  <a:pos x="84" y="522"/>
                </a:cxn>
                <a:cxn ang="0">
                  <a:pos x="150" y="548"/>
                </a:cxn>
                <a:cxn ang="0">
                  <a:pos x="84" y="516"/>
                </a:cxn>
                <a:cxn ang="0">
                  <a:pos x="204" y="512"/>
                </a:cxn>
                <a:cxn ang="0">
                  <a:pos x="144" y="483"/>
                </a:cxn>
                <a:cxn ang="0">
                  <a:pos x="144" y="483"/>
                </a:cxn>
                <a:cxn ang="0">
                  <a:pos x="204" y="448"/>
                </a:cxn>
                <a:cxn ang="0">
                  <a:pos x="144" y="362"/>
                </a:cxn>
                <a:cxn ang="0">
                  <a:pos x="150" y="359"/>
                </a:cxn>
                <a:cxn ang="0">
                  <a:pos x="84" y="327"/>
                </a:cxn>
                <a:cxn ang="0">
                  <a:pos x="204" y="323"/>
                </a:cxn>
                <a:cxn ang="0">
                  <a:pos x="144" y="294"/>
                </a:cxn>
                <a:cxn ang="0">
                  <a:pos x="144" y="294"/>
                </a:cxn>
                <a:cxn ang="0">
                  <a:pos x="204" y="259"/>
                </a:cxn>
                <a:cxn ang="0">
                  <a:pos x="204" y="202"/>
                </a:cxn>
                <a:cxn ang="0">
                  <a:pos x="204" y="144"/>
                </a:cxn>
                <a:cxn ang="0">
                  <a:pos x="144" y="109"/>
                </a:cxn>
                <a:cxn ang="0">
                  <a:pos x="150" y="107"/>
                </a:cxn>
                <a:cxn ang="0">
                  <a:pos x="86" y="77"/>
                </a:cxn>
                <a:cxn ang="0">
                  <a:pos x="642" y="107"/>
                </a:cxn>
                <a:cxn ang="0">
                  <a:pos x="642" y="170"/>
                </a:cxn>
                <a:cxn ang="0">
                  <a:pos x="642" y="233"/>
                </a:cxn>
                <a:cxn ang="0">
                  <a:pos x="642" y="296"/>
                </a:cxn>
                <a:cxn ang="0">
                  <a:pos x="642" y="359"/>
                </a:cxn>
                <a:cxn ang="0">
                  <a:pos x="642" y="422"/>
                </a:cxn>
                <a:cxn ang="0">
                  <a:pos x="642" y="485"/>
                </a:cxn>
                <a:cxn ang="0">
                  <a:pos x="588" y="522"/>
                </a:cxn>
                <a:cxn ang="0">
                  <a:pos x="653" y="548"/>
                </a:cxn>
                <a:cxn ang="0">
                  <a:pos x="588" y="516"/>
                </a:cxn>
                <a:cxn ang="0">
                  <a:pos x="707" y="512"/>
                </a:cxn>
                <a:cxn ang="0">
                  <a:pos x="648" y="483"/>
                </a:cxn>
                <a:cxn ang="0">
                  <a:pos x="648" y="483"/>
                </a:cxn>
                <a:cxn ang="0">
                  <a:pos x="707" y="448"/>
                </a:cxn>
                <a:cxn ang="0">
                  <a:pos x="648" y="362"/>
                </a:cxn>
                <a:cxn ang="0">
                  <a:pos x="653" y="359"/>
                </a:cxn>
                <a:cxn ang="0">
                  <a:pos x="588" y="327"/>
                </a:cxn>
                <a:cxn ang="0">
                  <a:pos x="707" y="323"/>
                </a:cxn>
                <a:cxn ang="0">
                  <a:pos x="648" y="294"/>
                </a:cxn>
                <a:cxn ang="0">
                  <a:pos x="648" y="294"/>
                </a:cxn>
                <a:cxn ang="0">
                  <a:pos x="707" y="259"/>
                </a:cxn>
                <a:cxn ang="0">
                  <a:pos x="707" y="202"/>
                </a:cxn>
                <a:cxn ang="0">
                  <a:pos x="707" y="144"/>
                </a:cxn>
                <a:cxn ang="0">
                  <a:pos x="648" y="109"/>
                </a:cxn>
                <a:cxn ang="0">
                  <a:pos x="653" y="107"/>
                </a:cxn>
                <a:cxn ang="0">
                  <a:pos x="590" y="77"/>
                </a:cxn>
              </a:cxnLst>
              <a:rect l="0" t="0" r="r" b="b"/>
              <a:pathLst>
                <a:path w="793" h="579">
                  <a:moveTo>
                    <a:pt x="0" y="77"/>
                  </a:moveTo>
                  <a:lnTo>
                    <a:pt x="73" y="77"/>
                  </a:lnTo>
                  <a:lnTo>
                    <a:pt x="73" y="327"/>
                  </a:lnTo>
                  <a:lnTo>
                    <a:pt x="73" y="390"/>
                  </a:lnTo>
                  <a:lnTo>
                    <a:pt x="73" y="390"/>
                  </a:lnTo>
                  <a:lnTo>
                    <a:pt x="73" y="579"/>
                  </a:lnTo>
                  <a:lnTo>
                    <a:pt x="84" y="579"/>
                  </a:lnTo>
                  <a:lnTo>
                    <a:pt x="144" y="550"/>
                  </a:lnTo>
                  <a:lnTo>
                    <a:pt x="204" y="579"/>
                  </a:lnTo>
                  <a:lnTo>
                    <a:pt x="216" y="579"/>
                  </a:lnTo>
                  <a:lnTo>
                    <a:pt x="216" y="77"/>
                  </a:lnTo>
                  <a:lnTo>
                    <a:pt x="576" y="77"/>
                  </a:lnTo>
                  <a:lnTo>
                    <a:pt x="576" y="579"/>
                  </a:lnTo>
                  <a:lnTo>
                    <a:pt x="588" y="579"/>
                  </a:lnTo>
                  <a:lnTo>
                    <a:pt x="648" y="550"/>
                  </a:lnTo>
                  <a:lnTo>
                    <a:pt x="707" y="579"/>
                  </a:lnTo>
                  <a:lnTo>
                    <a:pt x="719" y="579"/>
                  </a:lnTo>
                  <a:lnTo>
                    <a:pt x="719" y="77"/>
                  </a:lnTo>
                  <a:lnTo>
                    <a:pt x="793" y="77"/>
                  </a:lnTo>
                  <a:lnTo>
                    <a:pt x="793" y="0"/>
                  </a:lnTo>
                  <a:lnTo>
                    <a:pt x="0" y="0"/>
                  </a:lnTo>
                  <a:lnTo>
                    <a:pt x="0" y="77"/>
                  </a:lnTo>
                  <a:close/>
                  <a:moveTo>
                    <a:pt x="84" y="81"/>
                  </a:moveTo>
                  <a:lnTo>
                    <a:pt x="138" y="107"/>
                  </a:lnTo>
                  <a:lnTo>
                    <a:pt x="84" y="134"/>
                  </a:lnTo>
                  <a:lnTo>
                    <a:pt x="84" y="81"/>
                  </a:lnTo>
                  <a:close/>
                  <a:moveTo>
                    <a:pt x="84" y="144"/>
                  </a:moveTo>
                  <a:lnTo>
                    <a:pt x="138" y="170"/>
                  </a:lnTo>
                  <a:lnTo>
                    <a:pt x="84" y="196"/>
                  </a:lnTo>
                  <a:lnTo>
                    <a:pt x="84" y="144"/>
                  </a:lnTo>
                  <a:close/>
                  <a:moveTo>
                    <a:pt x="84" y="207"/>
                  </a:moveTo>
                  <a:lnTo>
                    <a:pt x="138" y="233"/>
                  </a:lnTo>
                  <a:lnTo>
                    <a:pt x="84" y="259"/>
                  </a:lnTo>
                  <a:lnTo>
                    <a:pt x="84" y="207"/>
                  </a:lnTo>
                  <a:close/>
                  <a:moveTo>
                    <a:pt x="84" y="270"/>
                  </a:moveTo>
                  <a:lnTo>
                    <a:pt x="138" y="296"/>
                  </a:lnTo>
                  <a:lnTo>
                    <a:pt x="84" y="323"/>
                  </a:lnTo>
                  <a:lnTo>
                    <a:pt x="84" y="270"/>
                  </a:lnTo>
                  <a:close/>
                  <a:moveTo>
                    <a:pt x="84" y="333"/>
                  </a:moveTo>
                  <a:lnTo>
                    <a:pt x="138" y="359"/>
                  </a:lnTo>
                  <a:lnTo>
                    <a:pt x="84" y="385"/>
                  </a:lnTo>
                  <a:lnTo>
                    <a:pt x="84" y="333"/>
                  </a:lnTo>
                  <a:close/>
                  <a:moveTo>
                    <a:pt x="84" y="396"/>
                  </a:moveTo>
                  <a:lnTo>
                    <a:pt x="138" y="422"/>
                  </a:lnTo>
                  <a:lnTo>
                    <a:pt x="84" y="448"/>
                  </a:lnTo>
                  <a:lnTo>
                    <a:pt x="84" y="396"/>
                  </a:lnTo>
                  <a:close/>
                  <a:moveTo>
                    <a:pt x="84" y="459"/>
                  </a:moveTo>
                  <a:lnTo>
                    <a:pt x="138" y="485"/>
                  </a:lnTo>
                  <a:lnTo>
                    <a:pt x="84" y="512"/>
                  </a:lnTo>
                  <a:lnTo>
                    <a:pt x="84" y="459"/>
                  </a:lnTo>
                  <a:close/>
                  <a:moveTo>
                    <a:pt x="84" y="574"/>
                  </a:moveTo>
                  <a:lnTo>
                    <a:pt x="84" y="522"/>
                  </a:lnTo>
                  <a:lnTo>
                    <a:pt x="138" y="548"/>
                  </a:lnTo>
                  <a:lnTo>
                    <a:pt x="84" y="574"/>
                  </a:lnTo>
                  <a:close/>
                  <a:moveTo>
                    <a:pt x="204" y="574"/>
                  </a:moveTo>
                  <a:lnTo>
                    <a:pt x="150" y="548"/>
                  </a:lnTo>
                  <a:lnTo>
                    <a:pt x="204" y="522"/>
                  </a:lnTo>
                  <a:lnTo>
                    <a:pt x="204" y="574"/>
                  </a:lnTo>
                  <a:close/>
                  <a:moveTo>
                    <a:pt x="144" y="545"/>
                  </a:moveTo>
                  <a:lnTo>
                    <a:pt x="84" y="516"/>
                  </a:lnTo>
                  <a:lnTo>
                    <a:pt x="144" y="487"/>
                  </a:lnTo>
                  <a:lnTo>
                    <a:pt x="204" y="516"/>
                  </a:lnTo>
                  <a:lnTo>
                    <a:pt x="144" y="545"/>
                  </a:lnTo>
                  <a:close/>
                  <a:moveTo>
                    <a:pt x="204" y="512"/>
                  </a:moveTo>
                  <a:lnTo>
                    <a:pt x="150" y="485"/>
                  </a:lnTo>
                  <a:lnTo>
                    <a:pt x="204" y="459"/>
                  </a:lnTo>
                  <a:lnTo>
                    <a:pt x="204" y="512"/>
                  </a:lnTo>
                  <a:close/>
                  <a:moveTo>
                    <a:pt x="144" y="483"/>
                  </a:moveTo>
                  <a:lnTo>
                    <a:pt x="84" y="454"/>
                  </a:lnTo>
                  <a:lnTo>
                    <a:pt x="144" y="425"/>
                  </a:lnTo>
                  <a:lnTo>
                    <a:pt x="204" y="454"/>
                  </a:lnTo>
                  <a:lnTo>
                    <a:pt x="144" y="483"/>
                  </a:lnTo>
                  <a:close/>
                  <a:moveTo>
                    <a:pt x="204" y="448"/>
                  </a:moveTo>
                  <a:lnTo>
                    <a:pt x="150" y="422"/>
                  </a:lnTo>
                  <a:lnTo>
                    <a:pt x="204" y="396"/>
                  </a:lnTo>
                  <a:lnTo>
                    <a:pt x="204" y="448"/>
                  </a:lnTo>
                  <a:close/>
                  <a:moveTo>
                    <a:pt x="144" y="419"/>
                  </a:moveTo>
                  <a:lnTo>
                    <a:pt x="84" y="390"/>
                  </a:lnTo>
                  <a:lnTo>
                    <a:pt x="84" y="390"/>
                  </a:lnTo>
                  <a:lnTo>
                    <a:pt x="144" y="362"/>
                  </a:lnTo>
                  <a:lnTo>
                    <a:pt x="204" y="390"/>
                  </a:lnTo>
                  <a:lnTo>
                    <a:pt x="144" y="419"/>
                  </a:lnTo>
                  <a:close/>
                  <a:moveTo>
                    <a:pt x="204" y="385"/>
                  </a:moveTo>
                  <a:lnTo>
                    <a:pt x="150" y="359"/>
                  </a:lnTo>
                  <a:lnTo>
                    <a:pt x="204" y="333"/>
                  </a:lnTo>
                  <a:lnTo>
                    <a:pt x="204" y="385"/>
                  </a:lnTo>
                  <a:close/>
                  <a:moveTo>
                    <a:pt x="144" y="356"/>
                  </a:moveTo>
                  <a:lnTo>
                    <a:pt x="84" y="327"/>
                  </a:lnTo>
                  <a:lnTo>
                    <a:pt x="144" y="298"/>
                  </a:lnTo>
                  <a:lnTo>
                    <a:pt x="204" y="327"/>
                  </a:lnTo>
                  <a:lnTo>
                    <a:pt x="144" y="356"/>
                  </a:lnTo>
                  <a:close/>
                  <a:moveTo>
                    <a:pt x="204" y="323"/>
                  </a:moveTo>
                  <a:lnTo>
                    <a:pt x="150" y="296"/>
                  </a:lnTo>
                  <a:lnTo>
                    <a:pt x="204" y="270"/>
                  </a:lnTo>
                  <a:lnTo>
                    <a:pt x="204" y="323"/>
                  </a:lnTo>
                  <a:close/>
                  <a:moveTo>
                    <a:pt x="144" y="294"/>
                  </a:moveTo>
                  <a:lnTo>
                    <a:pt x="84" y="265"/>
                  </a:lnTo>
                  <a:lnTo>
                    <a:pt x="144" y="236"/>
                  </a:lnTo>
                  <a:lnTo>
                    <a:pt x="204" y="265"/>
                  </a:lnTo>
                  <a:lnTo>
                    <a:pt x="144" y="294"/>
                  </a:lnTo>
                  <a:close/>
                  <a:moveTo>
                    <a:pt x="204" y="259"/>
                  </a:moveTo>
                  <a:lnTo>
                    <a:pt x="150" y="233"/>
                  </a:lnTo>
                  <a:lnTo>
                    <a:pt x="204" y="207"/>
                  </a:lnTo>
                  <a:lnTo>
                    <a:pt x="204" y="259"/>
                  </a:lnTo>
                  <a:close/>
                  <a:moveTo>
                    <a:pt x="144" y="230"/>
                  </a:moveTo>
                  <a:lnTo>
                    <a:pt x="84" y="202"/>
                  </a:lnTo>
                  <a:lnTo>
                    <a:pt x="144" y="173"/>
                  </a:lnTo>
                  <a:lnTo>
                    <a:pt x="204" y="202"/>
                  </a:lnTo>
                  <a:lnTo>
                    <a:pt x="144" y="230"/>
                  </a:lnTo>
                  <a:close/>
                  <a:moveTo>
                    <a:pt x="204" y="196"/>
                  </a:moveTo>
                  <a:lnTo>
                    <a:pt x="150" y="170"/>
                  </a:lnTo>
                  <a:lnTo>
                    <a:pt x="204" y="144"/>
                  </a:lnTo>
                  <a:lnTo>
                    <a:pt x="204" y="196"/>
                  </a:lnTo>
                  <a:close/>
                  <a:moveTo>
                    <a:pt x="144" y="167"/>
                  </a:moveTo>
                  <a:lnTo>
                    <a:pt x="84" y="138"/>
                  </a:lnTo>
                  <a:lnTo>
                    <a:pt x="144" y="109"/>
                  </a:lnTo>
                  <a:lnTo>
                    <a:pt x="204" y="138"/>
                  </a:lnTo>
                  <a:lnTo>
                    <a:pt x="144" y="167"/>
                  </a:lnTo>
                  <a:close/>
                  <a:moveTo>
                    <a:pt x="204" y="134"/>
                  </a:moveTo>
                  <a:lnTo>
                    <a:pt x="150" y="107"/>
                  </a:lnTo>
                  <a:lnTo>
                    <a:pt x="204" y="81"/>
                  </a:lnTo>
                  <a:lnTo>
                    <a:pt x="204" y="134"/>
                  </a:lnTo>
                  <a:close/>
                  <a:moveTo>
                    <a:pt x="144" y="105"/>
                  </a:moveTo>
                  <a:lnTo>
                    <a:pt x="86" y="77"/>
                  </a:lnTo>
                  <a:lnTo>
                    <a:pt x="203" y="77"/>
                  </a:lnTo>
                  <a:lnTo>
                    <a:pt x="144" y="105"/>
                  </a:lnTo>
                  <a:close/>
                  <a:moveTo>
                    <a:pt x="588" y="81"/>
                  </a:moveTo>
                  <a:lnTo>
                    <a:pt x="642" y="107"/>
                  </a:lnTo>
                  <a:lnTo>
                    <a:pt x="588" y="134"/>
                  </a:lnTo>
                  <a:lnTo>
                    <a:pt x="588" y="81"/>
                  </a:lnTo>
                  <a:close/>
                  <a:moveTo>
                    <a:pt x="588" y="144"/>
                  </a:moveTo>
                  <a:lnTo>
                    <a:pt x="642" y="170"/>
                  </a:lnTo>
                  <a:lnTo>
                    <a:pt x="588" y="196"/>
                  </a:lnTo>
                  <a:lnTo>
                    <a:pt x="588" y="144"/>
                  </a:lnTo>
                  <a:close/>
                  <a:moveTo>
                    <a:pt x="588" y="207"/>
                  </a:moveTo>
                  <a:lnTo>
                    <a:pt x="642" y="233"/>
                  </a:lnTo>
                  <a:lnTo>
                    <a:pt x="588" y="259"/>
                  </a:lnTo>
                  <a:lnTo>
                    <a:pt x="588" y="207"/>
                  </a:lnTo>
                  <a:close/>
                  <a:moveTo>
                    <a:pt x="588" y="270"/>
                  </a:moveTo>
                  <a:lnTo>
                    <a:pt x="642" y="296"/>
                  </a:lnTo>
                  <a:lnTo>
                    <a:pt x="588" y="323"/>
                  </a:lnTo>
                  <a:lnTo>
                    <a:pt x="588" y="270"/>
                  </a:lnTo>
                  <a:close/>
                  <a:moveTo>
                    <a:pt x="588" y="333"/>
                  </a:moveTo>
                  <a:lnTo>
                    <a:pt x="642" y="359"/>
                  </a:lnTo>
                  <a:lnTo>
                    <a:pt x="588" y="385"/>
                  </a:lnTo>
                  <a:lnTo>
                    <a:pt x="588" y="333"/>
                  </a:lnTo>
                  <a:close/>
                  <a:moveTo>
                    <a:pt x="588" y="396"/>
                  </a:moveTo>
                  <a:lnTo>
                    <a:pt x="642" y="422"/>
                  </a:lnTo>
                  <a:lnTo>
                    <a:pt x="588" y="448"/>
                  </a:lnTo>
                  <a:lnTo>
                    <a:pt x="588" y="396"/>
                  </a:lnTo>
                  <a:close/>
                  <a:moveTo>
                    <a:pt x="588" y="459"/>
                  </a:moveTo>
                  <a:lnTo>
                    <a:pt x="642" y="485"/>
                  </a:lnTo>
                  <a:lnTo>
                    <a:pt x="588" y="512"/>
                  </a:lnTo>
                  <a:lnTo>
                    <a:pt x="588" y="459"/>
                  </a:lnTo>
                  <a:close/>
                  <a:moveTo>
                    <a:pt x="588" y="574"/>
                  </a:moveTo>
                  <a:lnTo>
                    <a:pt x="588" y="522"/>
                  </a:lnTo>
                  <a:lnTo>
                    <a:pt x="642" y="548"/>
                  </a:lnTo>
                  <a:lnTo>
                    <a:pt x="588" y="574"/>
                  </a:lnTo>
                  <a:close/>
                  <a:moveTo>
                    <a:pt x="707" y="574"/>
                  </a:moveTo>
                  <a:lnTo>
                    <a:pt x="653" y="548"/>
                  </a:lnTo>
                  <a:lnTo>
                    <a:pt x="707" y="522"/>
                  </a:lnTo>
                  <a:lnTo>
                    <a:pt x="707" y="574"/>
                  </a:lnTo>
                  <a:close/>
                  <a:moveTo>
                    <a:pt x="648" y="545"/>
                  </a:moveTo>
                  <a:lnTo>
                    <a:pt x="588" y="516"/>
                  </a:lnTo>
                  <a:lnTo>
                    <a:pt x="648" y="487"/>
                  </a:lnTo>
                  <a:lnTo>
                    <a:pt x="707" y="516"/>
                  </a:lnTo>
                  <a:lnTo>
                    <a:pt x="648" y="545"/>
                  </a:lnTo>
                  <a:close/>
                  <a:moveTo>
                    <a:pt x="707" y="512"/>
                  </a:moveTo>
                  <a:lnTo>
                    <a:pt x="653" y="485"/>
                  </a:lnTo>
                  <a:lnTo>
                    <a:pt x="707" y="459"/>
                  </a:lnTo>
                  <a:lnTo>
                    <a:pt x="707" y="512"/>
                  </a:lnTo>
                  <a:close/>
                  <a:moveTo>
                    <a:pt x="648" y="483"/>
                  </a:moveTo>
                  <a:lnTo>
                    <a:pt x="588" y="454"/>
                  </a:lnTo>
                  <a:lnTo>
                    <a:pt x="648" y="425"/>
                  </a:lnTo>
                  <a:lnTo>
                    <a:pt x="707" y="454"/>
                  </a:lnTo>
                  <a:lnTo>
                    <a:pt x="648" y="483"/>
                  </a:lnTo>
                  <a:close/>
                  <a:moveTo>
                    <a:pt x="707" y="448"/>
                  </a:moveTo>
                  <a:lnTo>
                    <a:pt x="653" y="422"/>
                  </a:lnTo>
                  <a:lnTo>
                    <a:pt x="707" y="396"/>
                  </a:lnTo>
                  <a:lnTo>
                    <a:pt x="707" y="448"/>
                  </a:lnTo>
                  <a:close/>
                  <a:moveTo>
                    <a:pt x="648" y="419"/>
                  </a:moveTo>
                  <a:lnTo>
                    <a:pt x="588" y="390"/>
                  </a:lnTo>
                  <a:lnTo>
                    <a:pt x="588" y="390"/>
                  </a:lnTo>
                  <a:lnTo>
                    <a:pt x="648" y="362"/>
                  </a:lnTo>
                  <a:lnTo>
                    <a:pt x="707" y="390"/>
                  </a:lnTo>
                  <a:lnTo>
                    <a:pt x="648" y="419"/>
                  </a:lnTo>
                  <a:close/>
                  <a:moveTo>
                    <a:pt x="707" y="385"/>
                  </a:moveTo>
                  <a:lnTo>
                    <a:pt x="653" y="359"/>
                  </a:lnTo>
                  <a:lnTo>
                    <a:pt x="707" y="333"/>
                  </a:lnTo>
                  <a:lnTo>
                    <a:pt x="707" y="385"/>
                  </a:lnTo>
                  <a:close/>
                  <a:moveTo>
                    <a:pt x="648" y="356"/>
                  </a:moveTo>
                  <a:lnTo>
                    <a:pt x="588" y="327"/>
                  </a:lnTo>
                  <a:lnTo>
                    <a:pt x="648" y="298"/>
                  </a:lnTo>
                  <a:lnTo>
                    <a:pt x="707" y="327"/>
                  </a:lnTo>
                  <a:lnTo>
                    <a:pt x="648" y="356"/>
                  </a:lnTo>
                  <a:close/>
                  <a:moveTo>
                    <a:pt x="707" y="323"/>
                  </a:moveTo>
                  <a:lnTo>
                    <a:pt x="653" y="296"/>
                  </a:lnTo>
                  <a:lnTo>
                    <a:pt x="707" y="270"/>
                  </a:lnTo>
                  <a:lnTo>
                    <a:pt x="707" y="323"/>
                  </a:lnTo>
                  <a:close/>
                  <a:moveTo>
                    <a:pt x="648" y="294"/>
                  </a:moveTo>
                  <a:lnTo>
                    <a:pt x="588" y="265"/>
                  </a:lnTo>
                  <a:lnTo>
                    <a:pt x="648" y="236"/>
                  </a:lnTo>
                  <a:lnTo>
                    <a:pt x="707" y="265"/>
                  </a:lnTo>
                  <a:lnTo>
                    <a:pt x="648" y="294"/>
                  </a:lnTo>
                  <a:close/>
                  <a:moveTo>
                    <a:pt x="707" y="259"/>
                  </a:moveTo>
                  <a:lnTo>
                    <a:pt x="653" y="233"/>
                  </a:lnTo>
                  <a:lnTo>
                    <a:pt x="707" y="207"/>
                  </a:lnTo>
                  <a:lnTo>
                    <a:pt x="707" y="259"/>
                  </a:lnTo>
                  <a:close/>
                  <a:moveTo>
                    <a:pt x="648" y="230"/>
                  </a:moveTo>
                  <a:lnTo>
                    <a:pt x="588" y="202"/>
                  </a:lnTo>
                  <a:lnTo>
                    <a:pt x="648" y="173"/>
                  </a:lnTo>
                  <a:lnTo>
                    <a:pt x="707" y="202"/>
                  </a:lnTo>
                  <a:lnTo>
                    <a:pt x="648" y="230"/>
                  </a:lnTo>
                  <a:close/>
                  <a:moveTo>
                    <a:pt x="707" y="196"/>
                  </a:moveTo>
                  <a:lnTo>
                    <a:pt x="653" y="170"/>
                  </a:lnTo>
                  <a:lnTo>
                    <a:pt x="707" y="144"/>
                  </a:lnTo>
                  <a:lnTo>
                    <a:pt x="707" y="196"/>
                  </a:lnTo>
                  <a:close/>
                  <a:moveTo>
                    <a:pt x="648" y="167"/>
                  </a:moveTo>
                  <a:lnTo>
                    <a:pt x="588" y="138"/>
                  </a:lnTo>
                  <a:lnTo>
                    <a:pt x="648" y="109"/>
                  </a:lnTo>
                  <a:lnTo>
                    <a:pt x="707" y="138"/>
                  </a:lnTo>
                  <a:lnTo>
                    <a:pt x="648" y="167"/>
                  </a:lnTo>
                  <a:close/>
                  <a:moveTo>
                    <a:pt x="707" y="134"/>
                  </a:moveTo>
                  <a:lnTo>
                    <a:pt x="653" y="107"/>
                  </a:lnTo>
                  <a:lnTo>
                    <a:pt x="707" y="81"/>
                  </a:lnTo>
                  <a:lnTo>
                    <a:pt x="707" y="134"/>
                  </a:lnTo>
                  <a:close/>
                  <a:moveTo>
                    <a:pt x="648" y="105"/>
                  </a:moveTo>
                  <a:lnTo>
                    <a:pt x="590" y="77"/>
                  </a:lnTo>
                  <a:lnTo>
                    <a:pt x="706" y="77"/>
                  </a:lnTo>
                  <a:lnTo>
                    <a:pt x="648" y="105"/>
                  </a:lnTo>
                  <a:close/>
                </a:path>
              </a:pathLst>
            </a:custGeom>
            <a:solidFill>
              <a:srgbClr val="004E6B"/>
            </a:solidFill>
            <a:ln w="9525">
              <a:noFill/>
              <a:round/>
              <a:headEnd/>
              <a:tailEnd/>
            </a:ln>
            <a:effectLst>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89" name="Freeform 188"/>
            <p:cNvSpPr>
              <a:spLocks/>
            </p:cNvSpPr>
            <p:nvPr/>
          </p:nvSpPr>
          <p:spPr bwMode="auto">
            <a:xfrm>
              <a:off x="1684676" y="1722165"/>
              <a:ext cx="64352" cy="26047"/>
            </a:xfrm>
            <a:custGeom>
              <a:avLst/>
              <a:gdLst/>
              <a:ahLst/>
              <a:cxnLst>
                <a:cxn ang="0">
                  <a:pos x="66" y="0"/>
                </a:cxn>
                <a:cxn ang="0">
                  <a:pos x="18" y="0"/>
                </a:cxn>
                <a:cxn ang="0">
                  <a:pos x="18" y="0"/>
                </a:cxn>
                <a:cxn ang="0">
                  <a:pos x="11" y="1"/>
                </a:cxn>
                <a:cxn ang="0">
                  <a:pos x="6" y="4"/>
                </a:cxn>
                <a:cxn ang="0">
                  <a:pos x="3" y="10"/>
                </a:cxn>
                <a:cxn ang="0">
                  <a:pos x="0" y="16"/>
                </a:cxn>
                <a:cxn ang="0">
                  <a:pos x="0" y="16"/>
                </a:cxn>
                <a:cxn ang="0">
                  <a:pos x="3" y="24"/>
                </a:cxn>
                <a:cxn ang="0">
                  <a:pos x="6" y="30"/>
                </a:cxn>
                <a:cxn ang="0">
                  <a:pos x="11" y="33"/>
                </a:cxn>
                <a:cxn ang="0">
                  <a:pos x="18" y="34"/>
                </a:cxn>
                <a:cxn ang="0">
                  <a:pos x="66" y="34"/>
                </a:cxn>
                <a:cxn ang="0">
                  <a:pos x="66" y="34"/>
                </a:cxn>
                <a:cxn ang="0">
                  <a:pos x="74" y="33"/>
                </a:cxn>
                <a:cxn ang="0">
                  <a:pos x="78" y="30"/>
                </a:cxn>
                <a:cxn ang="0">
                  <a:pos x="82" y="24"/>
                </a:cxn>
                <a:cxn ang="0">
                  <a:pos x="84" y="16"/>
                </a:cxn>
                <a:cxn ang="0">
                  <a:pos x="84" y="16"/>
                </a:cxn>
                <a:cxn ang="0">
                  <a:pos x="82" y="10"/>
                </a:cxn>
                <a:cxn ang="0">
                  <a:pos x="78" y="4"/>
                </a:cxn>
                <a:cxn ang="0">
                  <a:pos x="74" y="1"/>
                </a:cxn>
                <a:cxn ang="0">
                  <a:pos x="66" y="0"/>
                </a:cxn>
                <a:cxn ang="0">
                  <a:pos x="66" y="0"/>
                </a:cxn>
              </a:cxnLst>
              <a:rect l="0" t="0" r="r" b="b"/>
              <a:pathLst>
                <a:path w="84" h="34">
                  <a:moveTo>
                    <a:pt x="66" y="0"/>
                  </a:moveTo>
                  <a:lnTo>
                    <a:pt x="18" y="0"/>
                  </a:lnTo>
                  <a:lnTo>
                    <a:pt x="18" y="0"/>
                  </a:lnTo>
                  <a:lnTo>
                    <a:pt x="11" y="1"/>
                  </a:lnTo>
                  <a:lnTo>
                    <a:pt x="6" y="4"/>
                  </a:lnTo>
                  <a:lnTo>
                    <a:pt x="3" y="10"/>
                  </a:lnTo>
                  <a:lnTo>
                    <a:pt x="0" y="16"/>
                  </a:lnTo>
                  <a:lnTo>
                    <a:pt x="0" y="16"/>
                  </a:lnTo>
                  <a:lnTo>
                    <a:pt x="3" y="24"/>
                  </a:lnTo>
                  <a:lnTo>
                    <a:pt x="6" y="30"/>
                  </a:lnTo>
                  <a:lnTo>
                    <a:pt x="11" y="33"/>
                  </a:lnTo>
                  <a:lnTo>
                    <a:pt x="18" y="34"/>
                  </a:lnTo>
                  <a:lnTo>
                    <a:pt x="66" y="34"/>
                  </a:lnTo>
                  <a:lnTo>
                    <a:pt x="66" y="34"/>
                  </a:lnTo>
                  <a:lnTo>
                    <a:pt x="74" y="33"/>
                  </a:lnTo>
                  <a:lnTo>
                    <a:pt x="78" y="30"/>
                  </a:lnTo>
                  <a:lnTo>
                    <a:pt x="82" y="24"/>
                  </a:lnTo>
                  <a:lnTo>
                    <a:pt x="84" y="16"/>
                  </a:lnTo>
                  <a:lnTo>
                    <a:pt x="84" y="16"/>
                  </a:lnTo>
                  <a:lnTo>
                    <a:pt x="82" y="10"/>
                  </a:lnTo>
                  <a:lnTo>
                    <a:pt x="78" y="4"/>
                  </a:lnTo>
                  <a:lnTo>
                    <a:pt x="74" y="1"/>
                  </a:lnTo>
                  <a:lnTo>
                    <a:pt x="66" y="0"/>
                  </a:lnTo>
                  <a:lnTo>
                    <a:pt x="66" y="0"/>
                  </a:lnTo>
                  <a:close/>
                </a:path>
              </a:pathLst>
            </a:custGeom>
            <a:solidFill>
              <a:srgbClr val="004E6B"/>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90" name="Freeform 189"/>
            <p:cNvSpPr>
              <a:spLocks noEditPoints="1"/>
            </p:cNvSpPr>
            <p:nvPr/>
          </p:nvSpPr>
          <p:spPr bwMode="auto">
            <a:xfrm>
              <a:off x="1782736" y="1371294"/>
              <a:ext cx="847300" cy="576103"/>
            </a:xfrm>
            <a:custGeom>
              <a:avLst/>
              <a:gdLst/>
              <a:ahLst/>
              <a:cxnLst>
                <a:cxn ang="0">
                  <a:pos x="803" y="138"/>
                </a:cxn>
                <a:cxn ang="0">
                  <a:pos x="672" y="138"/>
                </a:cxn>
                <a:cxn ang="0">
                  <a:pos x="480" y="1"/>
                </a:cxn>
                <a:cxn ang="0">
                  <a:pos x="316" y="565"/>
                </a:cxn>
                <a:cxn ang="0">
                  <a:pos x="299" y="206"/>
                </a:cxn>
                <a:cxn ang="0">
                  <a:pos x="169" y="157"/>
                </a:cxn>
                <a:cxn ang="0">
                  <a:pos x="96" y="752"/>
                </a:cxn>
                <a:cxn ang="0">
                  <a:pos x="848" y="628"/>
                </a:cxn>
                <a:cxn ang="0">
                  <a:pos x="300" y="389"/>
                </a:cxn>
                <a:cxn ang="0">
                  <a:pos x="246" y="300"/>
                </a:cxn>
                <a:cxn ang="0">
                  <a:pos x="246" y="236"/>
                </a:cxn>
                <a:cxn ang="0">
                  <a:pos x="180" y="211"/>
                </a:cxn>
                <a:cxn ang="0">
                  <a:pos x="240" y="240"/>
                </a:cxn>
                <a:cxn ang="0">
                  <a:pos x="240" y="302"/>
                </a:cxn>
                <a:cxn ang="0">
                  <a:pos x="180" y="336"/>
                </a:cxn>
                <a:cxn ang="0">
                  <a:pos x="300" y="394"/>
                </a:cxn>
                <a:cxn ang="0">
                  <a:pos x="234" y="425"/>
                </a:cxn>
                <a:cxn ang="0">
                  <a:pos x="185" y="455"/>
                </a:cxn>
                <a:cxn ang="0">
                  <a:pos x="497" y="498"/>
                </a:cxn>
                <a:cxn ang="0">
                  <a:pos x="493" y="373"/>
                </a:cxn>
                <a:cxn ang="0">
                  <a:pos x="466" y="284"/>
                </a:cxn>
                <a:cxn ang="0">
                  <a:pos x="487" y="195"/>
                </a:cxn>
                <a:cxn ang="0">
                  <a:pos x="486" y="184"/>
                </a:cxn>
                <a:cxn ang="0">
                  <a:pos x="481" y="17"/>
                </a:cxn>
                <a:cxn ang="0">
                  <a:pos x="471" y="17"/>
                </a:cxn>
                <a:cxn ang="0">
                  <a:pos x="453" y="17"/>
                </a:cxn>
                <a:cxn ang="0">
                  <a:pos x="483" y="64"/>
                </a:cxn>
                <a:cxn ang="0">
                  <a:pos x="461" y="95"/>
                </a:cxn>
                <a:cxn ang="0">
                  <a:pos x="463" y="155"/>
                </a:cxn>
                <a:cxn ang="0">
                  <a:pos x="441" y="184"/>
                </a:cxn>
                <a:cxn ang="0">
                  <a:pos x="441" y="189"/>
                </a:cxn>
                <a:cxn ang="0">
                  <a:pos x="439" y="195"/>
                </a:cxn>
                <a:cxn ang="0">
                  <a:pos x="463" y="224"/>
                </a:cxn>
                <a:cxn ang="0">
                  <a:pos x="463" y="287"/>
                </a:cxn>
                <a:cxn ang="0">
                  <a:pos x="436" y="320"/>
                </a:cxn>
                <a:cxn ang="0">
                  <a:pos x="493" y="378"/>
                </a:cxn>
                <a:cxn ang="0">
                  <a:pos x="461" y="409"/>
                </a:cxn>
                <a:cxn ang="0">
                  <a:pos x="463" y="470"/>
                </a:cxn>
                <a:cxn ang="0">
                  <a:pos x="430" y="498"/>
                </a:cxn>
                <a:cxn ang="0">
                  <a:pos x="430" y="504"/>
                </a:cxn>
                <a:cxn ang="0">
                  <a:pos x="429" y="509"/>
                </a:cxn>
                <a:cxn ang="0">
                  <a:pos x="467" y="536"/>
                </a:cxn>
                <a:cxn ang="0">
                  <a:pos x="738" y="219"/>
                </a:cxn>
                <a:cxn ang="0">
                  <a:pos x="684" y="308"/>
                </a:cxn>
                <a:cxn ang="0">
                  <a:pos x="684" y="319"/>
                </a:cxn>
                <a:cxn ang="0">
                  <a:pos x="684" y="444"/>
                </a:cxn>
                <a:cxn ang="0">
                  <a:pos x="738" y="533"/>
                </a:cxn>
                <a:cxn ang="0">
                  <a:pos x="744" y="536"/>
                </a:cxn>
                <a:cxn ang="0">
                  <a:pos x="803" y="507"/>
                </a:cxn>
                <a:cxn ang="0">
                  <a:pos x="803" y="502"/>
                </a:cxn>
                <a:cxn ang="0">
                  <a:pos x="803" y="496"/>
                </a:cxn>
                <a:cxn ang="0">
                  <a:pos x="744" y="468"/>
                </a:cxn>
                <a:cxn ang="0">
                  <a:pos x="744" y="405"/>
                </a:cxn>
                <a:cxn ang="0">
                  <a:pos x="803" y="371"/>
                </a:cxn>
                <a:cxn ang="0">
                  <a:pos x="684" y="313"/>
                </a:cxn>
                <a:cxn ang="0">
                  <a:pos x="749" y="282"/>
                </a:cxn>
                <a:cxn ang="0">
                  <a:pos x="744" y="222"/>
                </a:cxn>
                <a:cxn ang="0">
                  <a:pos x="803" y="244"/>
                </a:cxn>
              </a:cxnLst>
              <a:rect l="0" t="0" r="r" b="b"/>
              <a:pathLst>
                <a:path w="1106" h="752">
                  <a:moveTo>
                    <a:pt x="848" y="628"/>
                  </a:moveTo>
                  <a:lnTo>
                    <a:pt x="848" y="565"/>
                  </a:lnTo>
                  <a:lnTo>
                    <a:pt x="815" y="565"/>
                  </a:lnTo>
                  <a:lnTo>
                    <a:pt x="814" y="138"/>
                  </a:lnTo>
                  <a:lnTo>
                    <a:pt x="803" y="138"/>
                  </a:lnTo>
                  <a:lnTo>
                    <a:pt x="803" y="188"/>
                  </a:lnTo>
                  <a:lnTo>
                    <a:pt x="744" y="216"/>
                  </a:lnTo>
                  <a:lnTo>
                    <a:pt x="684" y="187"/>
                  </a:lnTo>
                  <a:lnTo>
                    <a:pt x="684" y="138"/>
                  </a:lnTo>
                  <a:lnTo>
                    <a:pt x="672" y="138"/>
                  </a:lnTo>
                  <a:lnTo>
                    <a:pt x="672" y="565"/>
                  </a:lnTo>
                  <a:lnTo>
                    <a:pt x="507" y="565"/>
                  </a:lnTo>
                  <a:lnTo>
                    <a:pt x="484" y="0"/>
                  </a:lnTo>
                  <a:lnTo>
                    <a:pt x="480" y="0"/>
                  </a:lnTo>
                  <a:lnTo>
                    <a:pt x="480" y="1"/>
                  </a:lnTo>
                  <a:lnTo>
                    <a:pt x="447" y="1"/>
                  </a:lnTo>
                  <a:lnTo>
                    <a:pt x="447" y="0"/>
                  </a:lnTo>
                  <a:lnTo>
                    <a:pt x="443" y="0"/>
                  </a:lnTo>
                  <a:lnTo>
                    <a:pt x="420" y="565"/>
                  </a:lnTo>
                  <a:lnTo>
                    <a:pt x="316" y="565"/>
                  </a:lnTo>
                  <a:lnTo>
                    <a:pt x="316" y="455"/>
                  </a:lnTo>
                  <a:lnTo>
                    <a:pt x="312" y="455"/>
                  </a:lnTo>
                  <a:lnTo>
                    <a:pt x="311" y="157"/>
                  </a:lnTo>
                  <a:lnTo>
                    <a:pt x="299" y="157"/>
                  </a:lnTo>
                  <a:lnTo>
                    <a:pt x="299" y="206"/>
                  </a:lnTo>
                  <a:lnTo>
                    <a:pt x="240" y="234"/>
                  </a:lnTo>
                  <a:lnTo>
                    <a:pt x="180" y="205"/>
                  </a:lnTo>
                  <a:lnTo>
                    <a:pt x="180" y="205"/>
                  </a:lnTo>
                  <a:lnTo>
                    <a:pt x="180" y="157"/>
                  </a:lnTo>
                  <a:lnTo>
                    <a:pt x="169" y="157"/>
                  </a:lnTo>
                  <a:lnTo>
                    <a:pt x="169" y="455"/>
                  </a:lnTo>
                  <a:lnTo>
                    <a:pt x="0" y="455"/>
                  </a:lnTo>
                  <a:lnTo>
                    <a:pt x="0" y="691"/>
                  </a:lnTo>
                  <a:lnTo>
                    <a:pt x="96" y="691"/>
                  </a:lnTo>
                  <a:lnTo>
                    <a:pt x="96" y="752"/>
                  </a:lnTo>
                  <a:lnTo>
                    <a:pt x="889" y="752"/>
                  </a:lnTo>
                  <a:lnTo>
                    <a:pt x="889" y="691"/>
                  </a:lnTo>
                  <a:lnTo>
                    <a:pt x="1106" y="691"/>
                  </a:lnTo>
                  <a:lnTo>
                    <a:pt x="1106" y="628"/>
                  </a:lnTo>
                  <a:lnTo>
                    <a:pt x="848" y="628"/>
                  </a:lnTo>
                  <a:close/>
                  <a:moveTo>
                    <a:pt x="300" y="451"/>
                  </a:moveTo>
                  <a:lnTo>
                    <a:pt x="246" y="425"/>
                  </a:lnTo>
                  <a:lnTo>
                    <a:pt x="300" y="400"/>
                  </a:lnTo>
                  <a:lnTo>
                    <a:pt x="300" y="451"/>
                  </a:lnTo>
                  <a:close/>
                  <a:moveTo>
                    <a:pt x="300" y="389"/>
                  </a:moveTo>
                  <a:lnTo>
                    <a:pt x="246" y="362"/>
                  </a:lnTo>
                  <a:lnTo>
                    <a:pt x="300" y="336"/>
                  </a:lnTo>
                  <a:lnTo>
                    <a:pt x="300" y="389"/>
                  </a:lnTo>
                  <a:close/>
                  <a:moveTo>
                    <a:pt x="300" y="325"/>
                  </a:moveTo>
                  <a:lnTo>
                    <a:pt x="246" y="300"/>
                  </a:lnTo>
                  <a:lnTo>
                    <a:pt x="300" y="273"/>
                  </a:lnTo>
                  <a:lnTo>
                    <a:pt x="300" y="325"/>
                  </a:lnTo>
                  <a:close/>
                  <a:moveTo>
                    <a:pt x="299" y="211"/>
                  </a:moveTo>
                  <a:lnTo>
                    <a:pt x="300" y="262"/>
                  </a:lnTo>
                  <a:lnTo>
                    <a:pt x="246" y="236"/>
                  </a:lnTo>
                  <a:lnTo>
                    <a:pt x="299" y="211"/>
                  </a:lnTo>
                  <a:close/>
                  <a:moveTo>
                    <a:pt x="180" y="211"/>
                  </a:moveTo>
                  <a:lnTo>
                    <a:pt x="234" y="236"/>
                  </a:lnTo>
                  <a:lnTo>
                    <a:pt x="180" y="262"/>
                  </a:lnTo>
                  <a:lnTo>
                    <a:pt x="180" y="211"/>
                  </a:lnTo>
                  <a:close/>
                  <a:moveTo>
                    <a:pt x="240" y="240"/>
                  </a:moveTo>
                  <a:lnTo>
                    <a:pt x="300" y="268"/>
                  </a:lnTo>
                  <a:lnTo>
                    <a:pt x="240" y="297"/>
                  </a:lnTo>
                  <a:lnTo>
                    <a:pt x="180" y="268"/>
                  </a:lnTo>
                  <a:lnTo>
                    <a:pt x="240" y="240"/>
                  </a:lnTo>
                  <a:close/>
                  <a:moveTo>
                    <a:pt x="180" y="273"/>
                  </a:moveTo>
                  <a:lnTo>
                    <a:pt x="234" y="300"/>
                  </a:lnTo>
                  <a:lnTo>
                    <a:pt x="180" y="325"/>
                  </a:lnTo>
                  <a:lnTo>
                    <a:pt x="180" y="273"/>
                  </a:lnTo>
                  <a:close/>
                  <a:moveTo>
                    <a:pt x="240" y="302"/>
                  </a:moveTo>
                  <a:lnTo>
                    <a:pt x="300" y="331"/>
                  </a:lnTo>
                  <a:lnTo>
                    <a:pt x="240" y="360"/>
                  </a:lnTo>
                  <a:lnTo>
                    <a:pt x="180" y="331"/>
                  </a:lnTo>
                  <a:lnTo>
                    <a:pt x="240" y="302"/>
                  </a:lnTo>
                  <a:close/>
                  <a:moveTo>
                    <a:pt x="180" y="336"/>
                  </a:moveTo>
                  <a:lnTo>
                    <a:pt x="234" y="362"/>
                  </a:lnTo>
                  <a:lnTo>
                    <a:pt x="180" y="389"/>
                  </a:lnTo>
                  <a:lnTo>
                    <a:pt x="180" y="336"/>
                  </a:lnTo>
                  <a:close/>
                  <a:moveTo>
                    <a:pt x="240" y="365"/>
                  </a:moveTo>
                  <a:lnTo>
                    <a:pt x="300" y="394"/>
                  </a:lnTo>
                  <a:lnTo>
                    <a:pt x="240" y="423"/>
                  </a:lnTo>
                  <a:lnTo>
                    <a:pt x="180" y="394"/>
                  </a:lnTo>
                  <a:lnTo>
                    <a:pt x="240" y="365"/>
                  </a:lnTo>
                  <a:close/>
                  <a:moveTo>
                    <a:pt x="180" y="400"/>
                  </a:moveTo>
                  <a:lnTo>
                    <a:pt x="234" y="425"/>
                  </a:lnTo>
                  <a:lnTo>
                    <a:pt x="180" y="451"/>
                  </a:lnTo>
                  <a:lnTo>
                    <a:pt x="180" y="400"/>
                  </a:lnTo>
                  <a:close/>
                  <a:moveTo>
                    <a:pt x="240" y="429"/>
                  </a:moveTo>
                  <a:lnTo>
                    <a:pt x="295" y="455"/>
                  </a:lnTo>
                  <a:lnTo>
                    <a:pt x="185" y="455"/>
                  </a:lnTo>
                  <a:lnTo>
                    <a:pt x="240" y="429"/>
                  </a:lnTo>
                  <a:close/>
                  <a:moveTo>
                    <a:pt x="497" y="498"/>
                  </a:moveTo>
                  <a:lnTo>
                    <a:pt x="467" y="473"/>
                  </a:lnTo>
                  <a:lnTo>
                    <a:pt x="496" y="447"/>
                  </a:lnTo>
                  <a:lnTo>
                    <a:pt x="497" y="498"/>
                  </a:lnTo>
                  <a:close/>
                  <a:moveTo>
                    <a:pt x="496" y="436"/>
                  </a:moveTo>
                  <a:lnTo>
                    <a:pt x="467" y="409"/>
                  </a:lnTo>
                  <a:lnTo>
                    <a:pt x="493" y="384"/>
                  </a:lnTo>
                  <a:lnTo>
                    <a:pt x="496" y="436"/>
                  </a:lnTo>
                  <a:close/>
                  <a:moveTo>
                    <a:pt x="493" y="373"/>
                  </a:moveTo>
                  <a:lnTo>
                    <a:pt x="466" y="347"/>
                  </a:lnTo>
                  <a:lnTo>
                    <a:pt x="491" y="320"/>
                  </a:lnTo>
                  <a:lnTo>
                    <a:pt x="493" y="373"/>
                  </a:lnTo>
                  <a:close/>
                  <a:moveTo>
                    <a:pt x="491" y="309"/>
                  </a:moveTo>
                  <a:lnTo>
                    <a:pt x="466" y="284"/>
                  </a:lnTo>
                  <a:lnTo>
                    <a:pt x="490" y="258"/>
                  </a:lnTo>
                  <a:lnTo>
                    <a:pt x="491" y="309"/>
                  </a:lnTo>
                  <a:close/>
                  <a:moveTo>
                    <a:pt x="489" y="247"/>
                  </a:moveTo>
                  <a:lnTo>
                    <a:pt x="466" y="222"/>
                  </a:lnTo>
                  <a:lnTo>
                    <a:pt x="487" y="195"/>
                  </a:lnTo>
                  <a:lnTo>
                    <a:pt x="489" y="247"/>
                  </a:lnTo>
                  <a:close/>
                  <a:moveTo>
                    <a:pt x="486" y="184"/>
                  </a:moveTo>
                  <a:lnTo>
                    <a:pt x="466" y="158"/>
                  </a:lnTo>
                  <a:lnTo>
                    <a:pt x="485" y="132"/>
                  </a:lnTo>
                  <a:lnTo>
                    <a:pt x="486" y="184"/>
                  </a:lnTo>
                  <a:close/>
                  <a:moveTo>
                    <a:pt x="485" y="122"/>
                  </a:moveTo>
                  <a:lnTo>
                    <a:pt x="466" y="95"/>
                  </a:lnTo>
                  <a:lnTo>
                    <a:pt x="483" y="69"/>
                  </a:lnTo>
                  <a:lnTo>
                    <a:pt x="485" y="122"/>
                  </a:lnTo>
                  <a:close/>
                  <a:moveTo>
                    <a:pt x="481" y="17"/>
                  </a:moveTo>
                  <a:lnTo>
                    <a:pt x="483" y="58"/>
                  </a:lnTo>
                  <a:lnTo>
                    <a:pt x="466" y="33"/>
                  </a:lnTo>
                  <a:lnTo>
                    <a:pt x="474" y="17"/>
                  </a:lnTo>
                  <a:lnTo>
                    <a:pt x="481" y="17"/>
                  </a:lnTo>
                  <a:close/>
                  <a:moveTo>
                    <a:pt x="471" y="17"/>
                  </a:moveTo>
                  <a:lnTo>
                    <a:pt x="463" y="29"/>
                  </a:lnTo>
                  <a:lnTo>
                    <a:pt x="456" y="17"/>
                  </a:lnTo>
                  <a:lnTo>
                    <a:pt x="471" y="17"/>
                  </a:lnTo>
                  <a:close/>
                  <a:moveTo>
                    <a:pt x="445" y="17"/>
                  </a:moveTo>
                  <a:lnTo>
                    <a:pt x="453" y="17"/>
                  </a:lnTo>
                  <a:lnTo>
                    <a:pt x="462" y="33"/>
                  </a:lnTo>
                  <a:lnTo>
                    <a:pt x="444" y="58"/>
                  </a:lnTo>
                  <a:lnTo>
                    <a:pt x="445" y="17"/>
                  </a:lnTo>
                  <a:close/>
                  <a:moveTo>
                    <a:pt x="463" y="35"/>
                  </a:moveTo>
                  <a:lnTo>
                    <a:pt x="483" y="64"/>
                  </a:lnTo>
                  <a:lnTo>
                    <a:pt x="463" y="93"/>
                  </a:lnTo>
                  <a:lnTo>
                    <a:pt x="444" y="64"/>
                  </a:lnTo>
                  <a:lnTo>
                    <a:pt x="463" y="35"/>
                  </a:lnTo>
                  <a:close/>
                  <a:moveTo>
                    <a:pt x="444" y="69"/>
                  </a:moveTo>
                  <a:lnTo>
                    <a:pt x="461" y="95"/>
                  </a:lnTo>
                  <a:lnTo>
                    <a:pt x="443" y="122"/>
                  </a:lnTo>
                  <a:lnTo>
                    <a:pt x="444" y="69"/>
                  </a:lnTo>
                  <a:close/>
                  <a:moveTo>
                    <a:pt x="463" y="98"/>
                  </a:moveTo>
                  <a:lnTo>
                    <a:pt x="485" y="126"/>
                  </a:lnTo>
                  <a:lnTo>
                    <a:pt x="463" y="155"/>
                  </a:lnTo>
                  <a:lnTo>
                    <a:pt x="442" y="126"/>
                  </a:lnTo>
                  <a:lnTo>
                    <a:pt x="463" y="98"/>
                  </a:lnTo>
                  <a:close/>
                  <a:moveTo>
                    <a:pt x="442" y="132"/>
                  </a:moveTo>
                  <a:lnTo>
                    <a:pt x="461" y="158"/>
                  </a:lnTo>
                  <a:lnTo>
                    <a:pt x="441" y="184"/>
                  </a:lnTo>
                  <a:lnTo>
                    <a:pt x="442" y="132"/>
                  </a:lnTo>
                  <a:close/>
                  <a:moveTo>
                    <a:pt x="463" y="160"/>
                  </a:moveTo>
                  <a:lnTo>
                    <a:pt x="487" y="189"/>
                  </a:lnTo>
                  <a:lnTo>
                    <a:pt x="463" y="218"/>
                  </a:lnTo>
                  <a:lnTo>
                    <a:pt x="441" y="189"/>
                  </a:lnTo>
                  <a:lnTo>
                    <a:pt x="463" y="160"/>
                  </a:lnTo>
                  <a:close/>
                  <a:moveTo>
                    <a:pt x="439" y="195"/>
                  </a:moveTo>
                  <a:lnTo>
                    <a:pt x="461" y="222"/>
                  </a:lnTo>
                  <a:lnTo>
                    <a:pt x="438" y="247"/>
                  </a:lnTo>
                  <a:lnTo>
                    <a:pt x="439" y="195"/>
                  </a:lnTo>
                  <a:close/>
                  <a:moveTo>
                    <a:pt x="463" y="224"/>
                  </a:moveTo>
                  <a:lnTo>
                    <a:pt x="489" y="253"/>
                  </a:lnTo>
                  <a:lnTo>
                    <a:pt x="463" y="282"/>
                  </a:lnTo>
                  <a:lnTo>
                    <a:pt x="438" y="253"/>
                  </a:lnTo>
                  <a:lnTo>
                    <a:pt x="463" y="224"/>
                  </a:lnTo>
                  <a:close/>
                  <a:moveTo>
                    <a:pt x="438" y="258"/>
                  </a:moveTo>
                  <a:lnTo>
                    <a:pt x="461" y="284"/>
                  </a:lnTo>
                  <a:lnTo>
                    <a:pt x="436" y="309"/>
                  </a:lnTo>
                  <a:lnTo>
                    <a:pt x="438" y="258"/>
                  </a:lnTo>
                  <a:close/>
                  <a:moveTo>
                    <a:pt x="463" y="287"/>
                  </a:moveTo>
                  <a:lnTo>
                    <a:pt x="491" y="315"/>
                  </a:lnTo>
                  <a:lnTo>
                    <a:pt x="463" y="344"/>
                  </a:lnTo>
                  <a:lnTo>
                    <a:pt x="436" y="315"/>
                  </a:lnTo>
                  <a:lnTo>
                    <a:pt x="463" y="287"/>
                  </a:lnTo>
                  <a:close/>
                  <a:moveTo>
                    <a:pt x="436" y="320"/>
                  </a:moveTo>
                  <a:lnTo>
                    <a:pt x="461" y="347"/>
                  </a:lnTo>
                  <a:lnTo>
                    <a:pt x="433" y="373"/>
                  </a:lnTo>
                  <a:lnTo>
                    <a:pt x="436" y="320"/>
                  </a:lnTo>
                  <a:close/>
                  <a:moveTo>
                    <a:pt x="463" y="349"/>
                  </a:moveTo>
                  <a:lnTo>
                    <a:pt x="493" y="378"/>
                  </a:lnTo>
                  <a:lnTo>
                    <a:pt x="463" y="407"/>
                  </a:lnTo>
                  <a:lnTo>
                    <a:pt x="433" y="378"/>
                  </a:lnTo>
                  <a:lnTo>
                    <a:pt x="463" y="349"/>
                  </a:lnTo>
                  <a:close/>
                  <a:moveTo>
                    <a:pt x="433" y="384"/>
                  </a:moveTo>
                  <a:lnTo>
                    <a:pt x="461" y="409"/>
                  </a:lnTo>
                  <a:lnTo>
                    <a:pt x="432" y="436"/>
                  </a:lnTo>
                  <a:lnTo>
                    <a:pt x="433" y="384"/>
                  </a:lnTo>
                  <a:close/>
                  <a:moveTo>
                    <a:pt x="463" y="413"/>
                  </a:moveTo>
                  <a:lnTo>
                    <a:pt x="496" y="442"/>
                  </a:lnTo>
                  <a:lnTo>
                    <a:pt x="463" y="470"/>
                  </a:lnTo>
                  <a:lnTo>
                    <a:pt x="431" y="442"/>
                  </a:lnTo>
                  <a:lnTo>
                    <a:pt x="463" y="413"/>
                  </a:lnTo>
                  <a:close/>
                  <a:moveTo>
                    <a:pt x="431" y="447"/>
                  </a:moveTo>
                  <a:lnTo>
                    <a:pt x="460" y="473"/>
                  </a:lnTo>
                  <a:lnTo>
                    <a:pt x="430" y="498"/>
                  </a:lnTo>
                  <a:lnTo>
                    <a:pt x="431" y="447"/>
                  </a:lnTo>
                  <a:close/>
                  <a:moveTo>
                    <a:pt x="463" y="476"/>
                  </a:moveTo>
                  <a:lnTo>
                    <a:pt x="498" y="504"/>
                  </a:lnTo>
                  <a:lnTo>
                    <a:pt x="463" y="533"/>
                  </a:lnTo>
                  <a:lnTo>
                    <a:pt x="430" y="504"/>
                  </a:lnTo>
                  <a:lnTo>
                    <a:pt x="463" y="476"/>
                  </a:lnTo>
                  <a:close/>
                  <a:moveTo>
                    <a:pt x="429" y="509"/>
                  </a:moveTo>
                  <a:lnTo>
                    <a:pt x="460" y="536"/>
                  </a:lnTo>
                  <a:lnTo>
                    <a:pt x="427" y="562"/>
                  </a:lnTo>
                  <a:lnTo>
                    <a:pt x="429" y="509"/>
                  </a:lnTo>
                  <a:close/>
                  <a:moveTo>
                    <a:pt x="430" y="565"/>
                  </a:moveTo>
                  <a:lnTo>
                    <a:pt x="463" y="538"/>
                  </a:lnTo>
                  <a:lnTo>
                    <a:pt x="497" y="565"/>
                  </a:lnTo>
                  <a:lnTo>
                    <a:pt x="430" y="565"/>
                  </a:lnTo>
                  <a:close/>
                  <a:moveTo>
                    <a:pt x="467" y="536"/>
                  </a:moveTo>
                  <a:lnTo>
                    <a:pt x="498" y="509"/>
                  </a:lnTo>
                  <a:lnTo>
                    <a:pt x="499" y="562"/>
                  </a:lnTo>
                  <a:lnTo>
                    <a:pt x="467" y="536"/>
                  </a:lnTo>
                  <a:close/>
                  <a:moveTo>
                    <a:pt x="684" y="193"/>
                  </a:moveTo>
                  <a:lnTo>
                    <a:pt x="738" y="219"/>
                  </a:lnTo>
                  <a:lnTo>
                    <a:pt x="684" y="244"/>
                  </a:lnTo>
                  <a:lnTo>
                    <a:pt x="684" y="193"/>
                  </a:lnTo>
                  <a:close/>
                  <a:moveTo>
                    <a:pt x="684" y="255"/>
                  </a:moveTo>
                  <a:lnTo>
                    <a:pt x="738" y="282"/>
                  </a:lnTo>
                  <a:lnTo>
                    <a:pt x="684" y="308"/>
                  </a:lnTo>
                  <a:lnTo>
                    <a:pt x="684" y="255"/>
                  </a:lnTo>
                  <a:close/>
                  <a:moveTo>
                    <a:pt x="684" y="319"/>
                  </a:moveTo>
                  <a:lnTo>
                    <a:pt x="738" y="344"/>
                  </a:lnTo>
                  <a:lnTo>
                    <a:pt x="684" y="371"/>
                  </a:lnTo>
                  <a:lnTo>
                    <a:pt x="684" y="319"/>
                  </a:lnTo>
                  <a:close/>
                  <a:moveTo>
                    <a:pt x="684" y="382"/>
                  </a:moveTo>
                  <a:lnTo>
                    <a:pt x="738" y="408"/>
                  </a:lnTo>
                  <a:lnTo>
                    <a:pt x="684" y="433"/>
                  </a:lnTo>
                  <a:lnTo>
                    <a:pt x="684" y="382"/>
                  </a:lnTo>
                  <a:close/>
                  <a:moveTo>
                    <a:pt x="684" y="444"/>
                  </a:moveTo>
                  <a:lnTo>
                    <a:pt x="738" y="471"/>
                  </a:lnTo>
                  <a:lnTo>
                    <a:pt x="684" y="496"/>
                  </a:lnTo>
                  <a:lnTo>
                    <a:pt x="684" y="444"/>
                  </a:lnTo>
                  <a:close/>
                  <a:moveTo>
                    <a:pt x="684" y="507"/>
                  </a:moveTo>
                  <a:lnTo>
                    <a:pt x="738" y="533"/>
                  </a:lnTo>
                  <a:lnTo>
                    <a:pt x="684" y="560"/>
                  </a:lnTo>
                  <a:lnTo>
                    <a:pt x="684" y="507"/>
                  </a:lnTo>
                  <a:close/>
                  <a:moveTo>
                    <a:pt x="684" y="565"/>
                  </a:moveTo>
                  <a:lnTo>
                    <a:pt x="684" y="565"/>
                  </a:lnTo>
                  <a:lnTo>
                    <a:pt x="744" y="536"/>
                  </a:lnTo>
                  <a:lnTo>
                    <a:pt x="803" y="565"/>
                  </a:lnTo>
                  <a:lnTo>
                    <a:pt x="684" y="565"/>
                  </a:lnTo>
                  <a:close/>
                  <a:moveTo>
                    <a:pt x="803" y="560"/>
                  </a:moveTo>
                  <a:lnTo>
                    <a:pt x="749" y="533"/>
                  </a:lnTo>
                  <a:lnTo>
                    <a:pt x="803" y="507"/>
                  </a:lnTo>
                  <a:lnTo>
                    <a:pt x="803" y="560"/>
                  </a:lnTo>
                  <a:close/>
                  <a:moveTo>
                    <a:pt x="744" y="531"/>
                  </a:moveTo>
                  <a:lnTo>
                    <a:pt x="684" y="502"/>
                  </a:lnTo>
                  <a:lnTo>
                    <a:pt x="744" y="473"/>
                  </a:lnTo>
                  <a:lnTo>
                    <a:pt x="803" y="502"/>
                  </a:lnTo>
                  <a:lnTo>
                    <a:pt x="744" y="531"/>
                  </a:lnTo>
                  <a:close/>
                  <a:moveTo>
                    <a:pt x="803" y="496"/>
                  </a:moveTo>
                  <a:lnTo>
                    <a:pt x="749" y="471"/>
                  </a:lnTo>
                  <a:lnTo>
                    <a:pt x="803" y="444"/>
                  </a:lnTo>
                  <a:lnTo>
                    <a:pt x="803" y="496"/>
                  </a:lnTo>
                  <a:close/>
                  <a:moveTo>
                    <a:pt x="744" y="468"/>
                  </a:moveTo>
                  <a:lnTo>
                    <a:pt x="684" y="439"/>
                  </a:lnTo>
                  <a:lnTo>
                    <a:pt x="744" y="411"/>
                  </a:lnTo>
                  <a:lnTo>
                    <a:pt x="803" y="439"/>
                  </a:lnTo>
                  <a:lnTo>
                    <a:pt x="744" y="468"/>
                  </a:lnTo>
                  <a:close/>
                  <a:moveTo>
                    <a:pt x="803" y="433"/>
                  </a:moveTo>
                  <a:lnTo>
                    <a:pt x="749" y="408"/>
                  </a:lnTo>
                  <a:lnTo>
                    <a:pt x="803" y="382"/>
                  </a:lnTo>
                  <a:lnTo>
                    <a:pt x="803" y="433"/>
                  </a:lnTo>
                  <a:close/>
                  <a:moveTo>
                    <a:pt x="744" y="405"/>
                  </a:moveTo>
                  <a:lnTo>
                    <a:pt x="684" y="376"/>
                  </a:lnTo>
                  <a:lnTo>
                    <a:pt x="744" y="347"/>
                  </a:lnTo>
                  <a:lnTo>
                    <a:pt x="803" y="376"/>
                  </a:lnTo>
                  <a:lnTo>
                    <a:pt x="744" y="405"/>
                  </a:lnTo>
                  <a:close/>
                  <a:moveTo>
                    <a:pt x="803" y="371"/>
                  </a:moveTo>
                  <a:lnTo>
                    <a:pt x="749" y="344"/>
                  </a:lnTo>
                  <a:lnTo>
                    <a:pt x="803" y="319"/>
                  </a:lnTo>
                  <a:lnTo>
                    <a:pt x="803" y="371"/>
                  </a:lnTo>
                  <a:close/>
                  <a:moveTo>
                    <a:pt x="744" y="342"/>
                  </a:moveTo>
                  <a:lnTo>
                    <a:pt x="684" y="313"/>
                  </a:lnTo>
                  <a:lnTo>
                    <a:pt x="744" y="284"/>
                  </a:lnTo>
                  <a:lnTo>
                    <a:pt x="803" y="313"/>
                  </a:lnTo>
                  <a:lnTo>
                    <a:pt x="744" y="342"/>
                  </a:lnTo>
                  <a:close/>
                  <a:moveTo>
                    <a:pt x="803" y="308"/>
                  </a:moveTo>
                  <a:lnTo>
                    <a:pt x="749" y="282"/>
                  </a:lnTo>
                  <a:lnTo>
                    <a:pt x="803" y="255"/>
                  </a:lnTo>
                  <a:lnTo>
                    <a:pt x="803" y="308"/>
                  </a:lnTo>
                  <a:close/>
                  <a:moveTo>
                    <a:pt x="744" y="279"/>
                  </a:moveTo>
                  <a:lnTo>
                    <a:pt x="684" y="250"/>
                  </a:lnTo>
                  <a:lnTo>
                    <a:pt x="744" y="222"/>
                  </a:lnTo>
                  <a:lnTo>
                    <a:pt x="803" y="250"/>
                  </a:lnTo>
                  <a:lnTo>
                    <a:pt x="744" y="279"/>
                  </a:lnTo>
                  <a:close/>
                  <a:moveTo>
                    <a:pt x="749" y="219"/>
                  </a:moveTo>
                  <a:lnTo>
                    <a:pt x="803" y="193"/>
                  </a:lnTo>
                  <a:lnTo>
                    <a:pt x="803" y="244"/>
                  </a:lnTo>
                  <a:lnTo>
                    <a:pt x="749" y="219"/>
                  </a:lnTo>
                  <a:close/>
                </a:path>
              </a:pathLst>
            </a:custGeom>
            <a:solidFill>
              <a:srgbClr val="004E6B"/>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91" name="Rectangle 190"/>
            <p:cNvSpPr>
              <a:spLocks noChangeArrowheads="1"/>
            </p:cNvSpPr>
            <p:nvPr/>
          </p:nvSpPr>
          <p:spPr bwMode="auto">
            <a:xfrm>
              <a:off x="1655564" y="1696118"/>
              <a:ext cx="170073" cy="21451"/>
            </a:xfrm>
            <a:prstGeom prst="rect">
              <a:avLst/>
            </a:prstGeom>
            <a:solidFill>
              <a:srgbClr val="004E6B"/>
            </a:solidFill>
            <a:ln w="9525">
              <a:noFill/>
              <a:miter lim="800000"/>
              <a:headEnd/>
              <a:tailEnd/>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92" name="Freeform 191"/>
            <p:cNvSpPr>
              <a:spLocks/>
            </p:cNvSpPr>
            <p:nvPr/>
          </p:nvSpPr>
          <p:spPr bwMode="auto">
            <a:xfrm>
              <a:off x="1680079" y="1660878"/>
              <a:ext cx="85803" cy="26047"/>
            </a:xfrm>
            <a:custGeom>
              <a:avLst/>
              <a:gdLst/>
              <a:ahLst/>
              <a:cxnLst>
                <a:cxn ang="0">
                  <a:pos x="10" y="28"/>
                </a:cxn>
                <a:cxn ang="0">
                  <a:pos x="16" y="25"/>
                </a:cxn>
                <a:cxn ang="0">
                  <a:pos x="20" y="22"/>
                </a:cxn>
                <a:cxn ang="0">
                  <a:pos x="34" y="23"/>
                </a:cxn>
                <a:cxn ang="0">
                  <a:pos x="35" y="23"/>
                </a:cxn>
                <a:cxn ang="0">
                  <a:pos x="64" y="34"/>
                </a:cxn>
                <a:cxn ang="0">
                  <a:pos x="70" y="35"/>
                </a:cxn>
                <a:cxn ang="0">
                  <a:pos x="95" y="35"/>
                </a:cxn>
                <a:cxn ang="0">
                  <a:pos x="101" y="34"/>
                </a:cxn>
                <a:cxn ang="0">
                  <a:pos x="110" y="33"/>
                </a:cxn>
                <a:cxn ang="0">
                  <a:pos x="112" y="30"/>
                </a:cxn>
                <a:cxn ang="0">
                  <a:pos x="111" y="29"/>
                </a:cxn>
                <a:cxn ang="0">
                  <a:pos x="105" y="27"/>
                </a:cxn>
                <a:cxn ang="0">
                  <a:pos x="101" y="27"/>
                </a:cxn>
                <a:cxn ang="0">
                  <a:pos x="101" y="27"/>
                </a:cxn>
                <a:cxn ang="0">
                  <a:pos x="93" y="19"/>
                </a:cxn>
                <a:cxn ang="0">
                  <a:pos x="93" y="19"/>
                </a:cxn>
                <a:cxn ang="0">
                  <a:pos x="88" y="17"/>
                </a:cxn>
                <a:cxn ang="0">
                  <a:pos x="86" y="17"/>
                </a:cxn>
                <a:cxn ang="0">
                  <a:pos x="81" y="14"/>
                </a:cxn>
                <a:cxn ang="0">
                  <a:pos x="65" y="13"/>
                </a:cxn>
                <a:cxn ang="0">
                  <a:pos x="52" y="14"/>
                </a:cxn>
                <a:cxn ang="0">
                  <a:pos x="44" y="17"/>
                </a:cxn>
                <a:cxn ang="0">
                  <a:pos x="26" y="17"/>
                </a:cxn>
                <a:cxn ang="0">
                  <a:pos x="24" y="17"/>
                </a:cxn>
                <a:cxn ang="0">
                  <a:pos x="21" y="17"/>
                </a:cxn>
                <a:cxn ang="0">
                  <a:pos x="18" y="11"/>
                </a:cxn>
                <a:cxn ang="0">
                  <a:pos x="11" y="7"/>
                </a:cxn>
                <a:cxn ang="0">
                  <a:pos x="8" y="0"/>
                </a:cxn>
                <a:cxn ang="0">
                  <a:pos x="4" y="0"/>
                </a:cxn>
                <a:cxn ang="0">
                  <a:pos x="4" y="0"/>
                </a:cxn>
                <a:cxn ang="0">
                  <a:pos x="5" y="8"/>
                </a:cxn>
                <a:cxn ang="0">
                  <a:pos x="0" y="14"/>
                </a:cxn>
                <a:cxn ang="0">
                  <a:pos x="0" y="17"/>
                </a:cxn>
                <a:cxn ang="0">
                  <a:pos x="3" y="24"/>
                </a:cxn>
                <a:cxn ang="0">
                  <a:pos x="10" y="28"/>
                </a:cxn>
              </a:cxnLst>
              <a:rect l="0" t="0" r="r" b="b"/>
              <a:pathLst>
                <a:path w="112" h="35">
                  <a:moveTo>
                    <a:pt x="10" y="28"/>
                  </a:moveTo>
                  <a:lnTo>
                    <a:pt x="10" y="28"/>
                  </a:lnTo>
                  <a:lnTo>
                    <a:pt x="14" y="27"/>
                  </a:lnTo>
                  <a:lnTo>
                    <a:pt x="16" y="25"/>
                  </a:lnTo>
                  <a:lnTo>
                    <a:pt x="18" y="24"/>
                  </a:lnTo>
                  <a:lnTo>
                    <a:pt x="20" y="22"/>
                  </a:lnTo>
                  <a:lnTo>
                    <a:pt x="34" y="23"/>
                  </a:lnTo>
                  <a:lnTo>
                    <a:pt x="34" y="23"/>
                  </a:lnTo>
                  <a:lnTo>
                    <a:pt x="35" y="23"/>
                  </a:lnTo>
                  <a:lnTo>
                    <a:pt x="35" y="23"/>
                  </a:lnTo>
                  <a:lnTo>
                    <a:pt x="40" y="24"/>
                  </a:lnTo>
                  <a:lnTo>
                    <a:pt x="64" y="34"/>
                  </a:lnTo>
                  <a:lnTo>
                    <a:pt x="64" y="34"/>
                  </a:lnTo>
                  <a:lnTo>
                    <a:pt x="70" y="35"/>
                  </a:lnTo>
                  <a:lnTo>
                    <a:pt x="95" y="35"/>
                  </a:lnTo>
                  <a:lnTo>
                    <a:pt x="95" y="35"/>
                  </a:lnTo>
                  <a:lnTo>
                    <a:pt x="101" y="34"/>
                  </a:lnTo>
                  <a:lnTo>
                    <a:pt x="101" y="34"/>
                  </a:lnTo>
                  <a:lnTo>
                    <a:pt x="106" y="34"/>
                  </a:lnTo>
                  <a:lnTo>
                    <a:pt x="110" y="33"/>
                  </a:lnTo>
                  <a:lnTo>
                    <a:pt x="111" y="31"/>
                  </a:lnTo>
                  <a:lnTo>
                    <a:pt x="112" y="30"/>
                  </a:lnTo>
                  <a:lnTo>
                    <a:pt x="112" y="30"/>
                  </a:lnTo>
                  <a:lnTo>
                    <a:pt x="111" y="29"/>
                  </a:lnTo>
                  <a:lnTo>
                    <a:pt x="109" y="28"/>
                  </a:lnTo>
                  <a:lnTo>
                    <a:pt x="105" y="27"/>
                  </a:lnTo>
                  <a:lnTo>
                    <a:pt x="105" y="27"/>
                  </a:lnTo>
                  <a:lnTo>
                    <a:pt x="101" y="27"/>
                  </a:lnTo>
                  <a:lnTo>
                    <a:pt x="101" y="27"/>
                  </a:lnTo>
                  <a:lnTo>
                    <a:pt x="101" y="27"/>
                  </a:lnTo>
                  <a:lnTo>
                    <a:pt x="93" y="19"/>
                  </a:lnTo>
                  <a:lnTo>
                    <a:pt x="93" y="19"/>
                  </a:lnTo>
                  <a:lnTo>
                    <a:pt x="93" y="19"/>
                  </a:lnTo>
                  <a:lnTo>
                    <a:pt x="93" y="19"/>
                  </a:lnTo>
                  <a:lnTo>
                    <a:pt x="91" y="18"/>
                  </a:lnTo>
                  <a:lnTo>
                    <a:pt x="88" y="17"/>
                  </a:lnTo>
                  <a:lnTo>
                    <a:pt x="86" y="17"/>
                  </a:lnTo>
                  <a:lnTo>
                    <a:pt x="86" y="17"/>
                  </a:lnTo>
                  <a:lnTo>
                    <a:pt x="86" y="17"/>
                  </a:lnTo>
                  <a:lnTo>
                    <a:pt x="81" y="14"/>
                  </a:lnTo>
                  <a:lnTo>
                    <a:pt x="76" y="13"/>
                  </a:lnTo>
                  <a:lnTo>
                    <a:pt x="65" y="13"/>
                  </a:lnTo>
                  <a:lnTo>
                    <a:pt x="57" y="14"/>
                  </a:lnTo>
                  <a:lnTo>
                    <a:pt x="52" y="14"/>
                  </a:lnTo>
                  <a:lnTo>
                    <a:pt x="44" y="17"/>
                  </a:lnTo>
                  <a:lnTo>
                    <a:pt x="44" y="17"/>
                  </a:lnTo>
                  <a:lnTo>
                    <a:pt x="38" y="17"/>
                  </a:lnTo>
                  <a:lnTo>
                    <a:pt x="26" y="17"/>
                  </a:lnTo>
                  <a:lnTo>
                    <a:pt x="24" y="17"/>
                  </a:lnTo>
                  <a:lnTo>
                    <a:pt x="24" y="17"/>
                  </a:lnTo>
                  <a:lnTo>
                    <a:pt x="21" y="17"/>
                  </a:lnTo>
                  <a:lnTo>
                    <a:pt x="21" y="17"/>
                  </a:lnTo>
                  <a:lnTo>
                    <a:pt x="20" y="13"/>
                  </a:lnTo>
                  <a:lnTo>
                    <a:pt x="18" y="11"/>
                  </a:lnTo>
                  <a:lnTo>
                    <a:pt x="15" y="8"/>
                  </a:lnTo>
                  <a:lnTo>
                    <a:pt x="11" y="7"/>
                  </a:lnTo>
                  <a:lnTo>
                    <a:pt x="8" y="0"/>
                  </a:lnTo>
                  <a:lnTo>
                    <a:pt x="8" y="0"/>
                  </a:lnTo>
                  <a:lnTo>
                    <a:pt x="6" y="0"/>
                  </a:lnTo>
                  <a:lnTo>
                    <a:pt x="4" y="0"/>
                  </a:lnTo>
                  <a:lnTo>
                    <a:pt x="4" y="0"/>
                  </a:lnTo>
                  <a:lnTo>
                    <a:pt x="4" y="0"/>
                  </a:lnTo>
                  <a:lnTo>
                    <a:pt x="5" y="8"/>
                  </a:lnTo>
                  <a:lnTo>
                    <a:pt x="5" y="8"/>
                  </a:lnTo>
                  <a:lnTo>
                    <a:pt x="2" y="12"/>
                  </a:lnTo>
                  <a:lnTo>
                    <a:pt x="0" y="14"/>
                  </a:lnTo>
                  <a:lnTo>
                    <a:pt x="0" y="17"/>
                  </a:lnTo>
                  <a:lnTo>
                    <a:pt x="0" y="17"/>
                  </a:lnTo>
                  <a:lnTo>
                    <a:pt x="2" y="22"/>
                  </a:lnTo>
                  <a:lnTo>
                    <a:pt x="3" y="24"/>
                  </a:lnTo>
                  <a:lnTo>
                    <a:pt x="6" y="27"/>
                  </a:lnTo>
                  <a:lnTo>
                    <a:pt x="10" y="28"/>
                  </a:lnTo>
                  <a:lnTo>
                    <a:pt x="10" y="28"/>
                  </a:lnTo>
                  <a:close/>
                </a:path>
              </a:pathLst>
            </a:custGeom>
            <a:solidFill>
              <a:srgbClr val="69B8D6">
                <a:lumMod val="40000"/>
                <a:lumOff val="60000"/>
              </a:srgbClr>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grpSp>
      <p:sp>
        <p:nvSpPr>
          <p:cNvPr id="193" name="Rectangle 192"/>
          <p:cNvSpPr/>
          <p:nvPr/>
        </p:nvSpPr>
        <p:spPr>
          <a:xfrm>
            <a:off x="10446912" y="3547580"/>
            <a:ext cx="1118697" cy="1540541"/>
          </a:xfrm>
          <a:prstGeom prst="rect">
            <a:avLst/>
          </a:prstGeom>
          <a:gradFill>
            <a:gsLst>
              <a:gs pos="70000">
                <a:srgbClr val="FFFFFF"/>
              </a:gs>
              <a:gs pos="100000">
                <a:srgbClr val="69B8D6">
                  <a:lumMod val="45000"/>
                  <a:lumOff val="55000"/>
                </a:srgbClr>
              </a:gs>
            </a:gsLst>
            <a:lin ang="5400000" scaled="1"/>
          </a:gradFill>
          <a:ln w="12700" cap="flat" cmpd="sng" algn="ctr">
            <a:noFill/>
            <a:prstDash val="solid"/>
            <a:miter lim="800000"/>
          </a:ln>
          <a:effectLst/>
        </p:spPr>
        <p:txBody>
          <a:bodyPr rtlCol="0" anchor="ctr"/>
          <a:lstStyle/>
          <a:p>
            <a:pPr algn="ctr">
              <a:defRPr/>
            </a:pPr>
            <a:endParaRPr lang="en-GB" kern="0" dirty="0">
              <a:solidFill>
                <a:srgbClr val="FFFFFF"/>
              </a:solidFill>
              <a:latin typeface="Zetta Sans Book"/>
            </a:endParaRPr>
          </a:p>
        </p:txBody>
      </p:sp>
      <p:pic>
        <p:nvPicPr>
          <p:cNvPr id="194" name="Picture 19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1761" y="5240035"/>
            <a:ext cx="1188439" cy="558000"/>
          </a:xfrm>
          <a:prstGeom prst="rect">
            <a:avLst/>
          </a:prstGeom>
        </p:spPr>
      </p:pic>
      <p:pic>
        <p:nvPicPr>
          <p:cNvPr id="195" name="Picture 1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72161" y="5240035"/>
            <a:ext cx="1188439" cy="558000"/>
          </a:xfrm>
          <a:prstGeom prst="rect">
            <a:avLst/>
          </a:prstGeom>
        </p:spPr>
      </p:pic>
      <p:pic>
        <p:nvPicPr>
          <p:cNvPr id="196" name="Picture 19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96546" y="5240035"/>
            <a:ext cx="1188439" cy="558000"/>
          </a:xfrm>
          <a:prstGeom prst="rect">
            <a:avLst/>
          </a:prstGeom>
        </p:spPr>
      </p:pic>
      <p:pic>
        <p:nvPicPr>
          <p:cNvPr id="197" name="Picture 1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74948" y="5240035"/>
            <a:ext cx="1490840" cy="558000"/>
          </a:xfrm>
          <a:prstGeom prst="rect">
            <a:avLst/>
          </a:prstGeom>
        </p:spPr>
      </p:pic>
      <p:sp>
        <p:nvSpPr>
          <p:cNvPr id="198" name="TextBox 197"/>
          <p:cNvSpPr txBox="1"/>
          <p:nvPr/>
        </p:nvSpPr>
        <p:spPr>
          <a:xfrm>
            <a:off x="117471" y="6128619"/>
            <a:ext cx="5958383" cy="246221"/>
          </a:xfrm>
          <a:prstGeom prst="rect">
            <a:avLst/>
          </a:prstGeom>
          <a:noFill/>
        </p:spPr>
        <p:txBody>
          <a:bodyPr wrap="square" rtlCol="0">
            <a:spAutoFit/>
          </a:bodyPr>
          <a:lstStyle/>
          <a:p>
            <a:r>
              <a:rPr lang="en-GB" sz="1000" dirty="0">
                <a:solidFill>
                  <a:srgbClr val="FFFFFF">
                    <a:lumMod val="50000"/>
                  </a:srgbClr>
                </a:solidFill>
                <a:latin typeface="Zetta Sans Book"/>
              </a:rPr>
              <a:t>The Maersk Line brand includes Safmarine, Seago Line, SeaLand, Mercosul Line and MCC </a:t>
            </a:r>
            <a:r>
              <a:rPr lang="en-GB" sz="1000" dirty="0" smtClean="0">
                <a:solidFill>
                  <a:srgbClr val="FFFFFF">
                    <a:lumMod val="50000"/>
                  </a:srgbClr>
                </a:solidFill>
                <a:latin typeface="Zetta Sans Book"/>
              </a:rPr>
              <a:t>Transport</a:t>
            </a:r>
            <a:endParaRPr lang="en-GB" sz="1000" dirty="0">
              <a:solidFill>
                <a:srgbClr val="FFFFFF">
                  <a:lumMod val="50000"/>
                </a:srgbClr>
              </a:solidFill>
              <a:latin typeface="Zetta Sans Book"/>
            </a:endParaRPr>
          </a:p>
        </p:txBody>
      </p:sp>
      <p:pic>
        <p:nvPicPr>
          <p:cNvPr id="175" name="Picture 1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5685" y="2216090"/>
            <a:ext cx="2359049" cy="1107181"/>
          </a:xfrm>
          <a:prstGeom prst="rect">
            <a:avLst/>
          </a:prstGeom>
        </p:spPr>
      </p:pic>
      <p:pic>
        <p:nvPicPr>
          <p:cNvPr id="176" name="Picture 175"/>
          <p:cNvPicPr>
            <a:picLocks noChangeAspect="1"/>
          </p:cNvPicPr>
          <p:nvPr/>
        </p:nvPicPr>
        <p:blipFill rotWithShape="1">
          <a:blip r:embed="rId8" cstate="print">
            <a:extLst>
              <a:ext uri="{28A0092B-C50C-407E-A947-70E740481C1C}">
                <a14:useLocalDpi xmlns:a14="http://schemas.microsoft.com/office/drawing/2010/main" val="0"/>
              </a:ext>
            </a:extLst>
          </a:blip>
          <a:srcRect l="9256" r="8139"/>
          <a:stretch/>
        </p:blipFill>
        <p:spPr>
          <a:xfrm>
            <a:off x="4089695" y="3613275"/>
            <a:ext cx="1737360" cy="640941"/>
          </a:xfrm>
          <a:prstGeom prst="rect">
            <a:avLst/>
          </a:prstGeom>
        </p:spPr>
      </p:pic>
      <p:pic>
        <p:nvPicPr>
          <p:cNvPr id="177" name="Picture 17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78067" y="2171460"/>
            <a:ext cx="2573184" cy="1004174"/>
          </a:xfrm>
          <a:prstGeom prst="rect">
            <a:avLst/>
          </a:prstGeom>
        </p:spPr>
      </p:pic>
      <p:sp>
        <p:nvSpPr>
          <p:cNvPr id="172" name="Oval 171"/>
          <p:cNvSpPr/>
          <p:nvPr/>
        </p:nvSpPr>
        <p:spPr>
          <a:xfrm>
            <a:off x="408909" y="3968601"/>
            <a:ext cx="5293991" cy="1598041"/>
          </a:xfrm>
          <a:prstGeom prst="ellipse">
            <a:avLst/>
          </a:prstGeom>
          <a:solidFill>
            <a:srgbClr val="69B8D6">
              <a:lumMod val="20000"/>
              <a:lumOff val="80000"/>
              <a:alpha val="50000"/>
            </a:srgbClr>
          </a:solidFill>
          <a:ln w="12700" cap="flat" cmpd="sng" algn="ctr">
            <a:noFill/>
            <a:prstDash val="solid"/>
            <a:miter lim="800000"/>
          </a:ln>
          <a:effectLst/>
        </p:spPr>
        <p:txBody>
          <a:bodyPr rtlCol="0" anchor="ctr"/>
          <a:lstStyle/>
          <a:p>
            <a:pPr algn="ctr">
              <a:defRPr/>
            </a:pPr>
            <a:endParaRPr lang="en-GB" kern="0" dirty="0">
              <a:solidFill>
                <a:srgbClr val="FFFFFF"/>
              </a:solidFill>
              <a:latin typeface="Zetta Sans Book"/>
            </a:endParaRPr>
          </a:p>
        </p:txBody>
      </p:sp>
      <p:sp>
        <p:nvSpPr>
          <p:cNvPr id="145" name="Freeform 5"/>
          <p:cNvSpPr>
            <a:spLocks noEditPoints="1"/>
          </p:cNvSpPr>
          <p:nvPr/>
        </p:nvSpPr>
        <p:spPr bwMode="auto">
          <a:xfrm>
            <a:off x="736262" y="3716364"/>
            <a:ext cx="2030359" cy="445199"/>
          </a:xfrm>
          <a:custGeom>
            <a:avLst/>
            <a:gdLst/>
            <a:ahLst/>
            <a:cxnLst>
              <a:cxn ang="0">
                <a:pos x="399" y="188"/>
              </a:cxn>
              <a:cxn ang="0">
                <a:pos x="475" y="121"/>
              </a:cxn>
              <a:cxn ang="0">
                <a:pos x="399" y="121"/>
              </a:cxn>
              <a:cxn ang="0">
                <a:pos x="325" y="188"/>
              </a:cxn>
              <a:cxn ang="0">
                <a:pos x="399" y="99"/>
              </a:cxn>
              <a:cxn ang="0">
                <a:pos x="475" y="143"/>
              </a:cxn>
              <a:cxn ang="0">
                <a:pos x="704" y="188"/>
              </a:cxn>
              <a:cxn ang="0">
                <a:pos x="704" y="210"/>
              </a:cxn>
              <a:cxn ang="0">
                <a:pos x="778" y="143"/>
              </a:cxn>
              <a:cxn ang="0">
                <a:pos x="704" y="166"/>
              </a:cxn>
              <a:cxn ang="0">
                <a:pos x="475" y="166"/>
              </a:cxn>
              <a:cxn ang="0">
                <a:pos x="704" y="143"/>
              </a:cxn>
              <a:cxn ang="0">
                <a:pos x="28" y="210"/>
              </a:cxn>
              <a:cxn ang="0">
                <a:pos x="102" y="99"/>
              </a:cxn>
              <a:cxn ang="0">
                <a:pos x="778" y="188"/>
              </a:cxn>
              <a:cxn ang="0">
                <a:pos x="102" y="188"/>
              </a:cxn>
              <a:cxn ang="0">
                <a:pos x="28" y="121"/>
              </a:cxn>
              <a:cxn ang="0">
                <a:pos x="325" y="121"/>
              </a:cxn>
              <a:cxn ang="0">
                <a:pos x="28" y="143"/>
              </a:cxn>
              <a:cxn ang="0">
                <a:pos x="251" y="166"/>
              </a:cxn>
              <a:cxn ang="0">
                <a:pos x="251" y="143"/>
              </a:cxn>
              <a:cxn ang="0">
                <a:pos x="176" y="99"/>
              </a:cxn>
              <a:cxn ang="0">
                <a:pos x="251" y="121"/>
              </a:cxn>
              <a:cxn ang="0">
                <a:pos x="176" y="121"/>
              </a:cxn>
              <a:cxn ang="0">
                <a:pos x="176" y="188"/>
              </a:cxn>
              <a:cxn ang="0">
                <a:pos x="1374" y="143"/>
              </a:cxn>
              <a:cxn ang="0">
                <a:pos x="1300" y="121"/>
              </a:cxn>
              <a:cxn ang="0">
                <a:pos x="1226" y="121"/>
              </a:cxn>
              <a:cxn ang="0">
                <a:pos x="1300" y="99"/>
              </a:cxn>
              <a:cxn ang="0">
                <a:pos x="1151" y="143"/>
              </a:cxn>
              <a:cxn ang="0">
                <a:pos x="1151" y="188"/>
              </a:cxn>
              <a:cxn ang="0">
                <a:pos x="1151" y="121"/>
              </a:cxn>
              <a:cxn ang="0">
                <a:pos x="1449" y="166"/>
              </a:cxn>
              <a:cxn ang="0">
                <a:pos x="1449" y="121"/>
              </a:cxn>
              <a:cxn ang="0">
                <a:pos x="35" y="313"/>
              </a:cxn>
              <a:cxn ang="0">
                <a:pos x="1580" y="355"/>
              </a:cxn>
              <a:cxn ang="0">
                <a:pos x="1580" y="317"/>
              </a:cxn>
              <a:cxn ang="0">
                <a:pos x="1542" y="294"/>
              </a:cxn>
              <a:cxn ang="0">
                <a:pos x="1517" y="183"/>
              </a:cxn>
              <a:cxn ang="0">
                <a:pos x="1374" y="191"/>
              </a:cxn>
              <a:cxn ang="0">
                <a:pos x="679" y="80"/>
              </a:cxn>
              <a:cxn ang="0">
                <a:pos x="608" y="3"/>
              </a:cxn>
              <a:cxn ang="0">
                <a:pos x="1374" y="145"/>
              </a:cxn>
              <a:cxn ang="0">
                <a:pos x="1300" y="145"/>
              </a:cxn>
              <a:cxn ang="0">
                <a:pos x="778" y="191"/>
              </a:cxn>
              <a:cxn ang="0">
                <a:pos x="1374" y="79"/>
              </a:cxn>
              <a:cxn ang="0">
                <a:pos x="927" y="102"/>
              </a:cxn>
              <a:cxn ang="0">
                <a:pos x="927" y="124"/>
              </a:cxn>
              <a:cxn ang="0">
                <a:pos x="927" y="145"/>
              </a:cxn>
              <a:cxn ang="0">
                <a:pos x="852" y="79"/>
              </a:cxn>
              <a:cxn ang="0">
                <a:pos x="852" y="102"/>
              </a:cxn>
              <a:cxn ang="0">
                <a:pos x="852" y="145"/>
              </a:cxn>
              <a:cxn ang="0">
                <a:pos x="1077" y="145"/>
              </a:cxn>
              <a:cxn ang="0">
                <a:pos x="1077" y="102"/>
              </a:cxn>
              <a:cxn ang="0">
                <a:pos x="1077" y="79"/>
              </a:cxn>
              <a:cxn ang="0">
                <a:pos x="1001" y="169"/>
              </a:cxn>
              <a:cxn ang="0">
                <a:pos x="1001" y="102"/>
              </a:cxn>
              <a:cxn ang="0">
                <a:pos x="1001" y="79"/>
              </a:cxn>
            </a:cxnLst>
            <a:rect l="0" t="0" r="r" b="b"/>
            <a:pathLst>
              <a:path w="1619" h="355">
                <a:moveTo>
                  <a:pt x="399" y="210"/>
                </a:moveTo>
                <a:lnTo>
                  <a:pt x="468" y="210"/>
                </a:lnTo>
                <a:lnTo>
                  <a:pt x="468" y="191"/>
                </a:lnTo>
                <a:lnTo>
                  <a:pt x="399" y="191"/>
                </a:lnTo>
                <a:lnTo>
                  <a:pt x="399" y="210"/>
                </a:lnTo>
                <a:close/>
                <a:moveTo>
                  <a:pt x="399" y="188"/>
                </a:moveTo>
                <a:lnTo>
                  <a:pt x="468" y="188"/>
                </a:lnTo>
                <a:lnTo>
                  <a:pt x="468" y="169"/>
                </a:lnTo>
                <a:lnTo>
                  <a:pt x="399" y="169"/>
                </a:lnTo>
                <a:lnTo>
                  <a:pt x="399" y="188"/>
                </a:lnTo>
                <a:close/>
                <a:moveTo>
                  <a:pt x="325" y="143"/>
                </a:moveTo>
                <a:lnTo>
                  <a:pt x="393" y="143"/>
                </a:lnTo>
                <a:lnTo>
                  <a:pt x="393" y="124"/>
                </a:lnTo>
                <a:lnTo>
                  <a:pt x="325" y="124"/>
                </a:lnTo>
                <a:lnTo>
                  <a:pt x="325" y="143"/>
                </a:lnTo>
                <a:close/>
                <a:moveTo>
                  <a:pt x="475" y="121"/>
                </a:moveTo>
                <a:lnTo>
                  <a:pt x="542" y="121"/>
                </a:lnTo>
                <a:lnTo>
                  <a:pt x="542" y="102"/>
                </a:lnTo>
                <a:lnTo>
                  <a:pt x="475" y="102"/>
                </a:lnTo>
                <a:lnTo>
                  <a:pt x="475" y="121"/>
                </a:lnTo>
                <a:close/>
                <a:moveTo>
                  <a:pt x="475" y="99"/>
                </a:moveTo>
                <a:lnTo>
                  <a:pt x="542" y="99"/>
                </a:lnTo>
                <a:lnTo>
                  <a:pt x="542" y="79"/>
                </a:lnTo>
                <a:lnTo>
                  <a:pt x="475" y="79"/>
                </a:lnTo>
                <a:lnTo>
                  <a:pt x="475" y="99"/>
                </a:lnTo>
                <a:close/>
                <a:moveTo>
                  <a:pt x="399" y="121"/>
                </a:moveTo>
                <a:lnTo>
                  <a:pt x="468" y="121"/>
                </a:lnTo>
                <a:lnTo>
                  <a:pt x="468" y="102"/>
                </a:lnTo>
                <a:lnTo>
                  <a:pt x="399" y="102"/>
                </a:lnTo>
                <a:lnTo>
                  <a:pt x="399" y="121"/>
                </a:lnTo>
                <a:close/>
                <a:moveTo>
                  <a:pt x="325" y="210"/>
                </a:moveTo>
                <a:lnTo>
                  <a:pt x="393" y="210"/>
                </a:lnTo>
                <a:lnTo>
                  <a:pt x="393" y="191"/>
                </a:lnTo>
                <a:lnTo>
                  <a:pt x="325" y="191"/>
                </a:lnTo>
                <a:lnTo>
                  <a:pt x="325" y="210"/>
                </a:lnTo>
                <a:close/>
                <a:moveTo>
                  <a:pt x="325" y="188"/>
                </a:moveTo>
                <a:lnTo>
                  <a:pt x="393" y="188"/>
                </a:lnTo>
                <a:lnTo>
                  <a:pt x="393" y="169"/>
                </a:lnTo>
                <a:lnTo>
                  <a:pt x="325" y="169"/>
                </a:lnTo>
                <a:lnTo>
                  <a:pt x="325" y="188"/>
                </a:lnTo>
                <a:close/>
                <a:moveTo>
                  <a:pt x="325" y="166"/>
                </a:moveTo>
                <a:lnTo>
                  <a:pt x="393" y="166"/>
                </a:lnTo>
                <a:lnTo>
                  <a:pt x="393" y="145"/>
                </a:lnTo>
                <a:lnTo>
                  <a:pt x="325" y="145"/>
                </a:lnTo>
                <a:lnTo>
                  <a:pt x="325" y="166"/>
                </a:lnTo>
                <a:close/>
                <a:moveTo>
                  <a:pt x="399" y="99"/>
                </a:moveTo>
                <a:lnTo>
                  <a:pt x="468" y="99"/>
                </a:lnTo>
                <a:lnTo>
                  <a:pt x="468" y="79"/>
                </a:lnTo>
                <a:lnTo>
                  <a:pt x="399" y="79"/>
                </a:lnTo>
                <a:lnTo>
                  <a:pt x="399" y="99"/>
                </a:lnTo>
                <a:close/>
                <a:moveTo>
                  <a:pt x="399" y="143"/>
                </a:moveTo>
                <a:lnTo>
                  <a:pt x="468" y="143"/>
                </a:lnTo>
                <a:lnTo>
                  <a:pt x="468" y="124"/>
                </a:lnTo>
                <a:lnTo>
                  <a:pt x="399" y="124"/>
                </a:lnTo>
                <a:lnTo>
                  <a:pt x="399" y="143"/>
                </a:lnTo>
                <a:close/>
                <a:moveTo>
                  <a:pt x="475" y="143"/>
                </a:moveTo>
                <a:lnTo>
                  <a:pt x="542" y="143"/>
                </a:lnTo>
                <a:lnTo>
                  <a:pt x="542" y="124"/>
                </a:lnTo>
                <a:lnTo>
                  <a:pt x="475" y="124"/>
                </a:lnTo>
                <a:lnTo>
                  <a:pt x="475" y="143"/>
                </a:lnTo>
                <a:close/>
                <a:moveTo>
                  <a:pt x="399" y="166"/>
                </a:moveTo>
                <a:lnTo>
                  <a:pt x="468" y="166"/>
                </a:lnTo>
                <a:lnTo>
                  <a:pt x="468" y="145"/>
                </a:lnTo>
                <a:lnTo>
                  <a:pt x="399" y="145"/>
                </a:lnTo>
                <a:lnTo>
                  <a:pt x="399" y="166"/>
                </a:lnTo>
                <a:close/>
                <a:moveTo>
                  <a:pt x="704" y="188"/>
                </a:moveTo>
                <a:lnTo>
                  <a:pt x="771" y="188"/>
                </a:lnTo>
                <a:lnTo>
                  <a:pt x="771" y="169"/>
                </a:lnTo>
                <a:lnTo>
                  <a:pt x="704" y="169"/>
                </a:lnTo>
                <a:lnTo>
                  <a:pt x="704" y="188"/>
                </a:lnTo>
                <a:close/>
                <a:moveTo>
                  <a:pt x="778" y="99"/>
                </a:moveTo>
                <a:lnTo>
                  <a:pt x="847" y="99"/>
                </a:lnTo>
                <a:lnTo>
                  <a:pt x="847" y="79"/>
                </a:lnTo>
                <a:lnTo>
                  <a:pt x="778" y="79"/>
                </a:lnTo>
                <a:lnTo>
                  <a:pt x="778" y="99"/>
                </a:lnTo>
                <a:close/>
                <a:moveTo>
                  <a:pt x="704" y="210"/>
                </a:moveTo>
                <a:lnTo>
                  <a:pt x="771" y="210"/>
                </a:lnTo>
                <a:lnTo>
                  <a:pt x="771" y="191"/>
                </a:lnTo>
                <a:lnTo>
                  <a:pt x="704" y="191"/>
                </a:lnTo>
                <a:lnTo>
                  <a:pt x="704" y="210"/>
                </a:lnTo>
                <a:close/>
                <a:moveTo>
                  <a:pt x="778" y="121"/>
                </a:moveTo>
                <a:lnTo>
                  <a:pt x="847" y="121"/>
                </a:lnTo>
                <a:lnTo>
                  <a:pt x="847" y="102"/>
                </a:lnTo>
                <a:lnTo>
                  <a:pt x="778" y="102"/>
                </a:lnTo>
                <a:lnTo>
                  <a:pt x="778" y="121"/>
                </a:lnTo>
                <a:close/>
                <a:moveTo>
                  <a:pt x="778" y="143"/>
                </a:moveTo>
                <a:lnTo>
                  <a:pt x="847" y="143"/>
                </a:lnTo>
                <a:lnTo>
                  <a:pt x="847" y="124"/>
                </a:lnTo>
                <a:lnTo>
                  <a:pt x="778" y="124"/>
                </a:lnTo>
                <a:lnTo>
                  <a:pt x="778" y="143"/>
                </a:lnTo>
                <a:close/>
                <a:moveTo>
                  <a:pt x="778" y="166"/>
                </a:moveTo>
                <a:lnTo>
                  <a:pt x="847" y="166"/>
                </a:lnTo>
                <a:lnTo>
                  <a:pt x="847" y="145"/>
                </a:lnTo>
                <a:lnTo>
                  <a:pt x="778" y="145"/>
                </a:lnTo>
                <a:lnTo>
                  <a:pt x="778" y="166"/>
                </a:lnTo>
                <a:close/>
                <a:moveTo>
                  <a:pt x="704" y="166"/>
                </a:moveTo>
                <a:lnTo>
                  <a:pt x="771" y="166"/>
                </a:lnTo>
                <a:lnTo>
                  <a:pt x="771" y="145"/>
                </a:lnTo>
                <a:lnTo>
                  <a:pt x="704" y="145"/>
                </a:lnTo>
                <a:lnTo>
                  <a:pt x="704" y="166"/>
                </a:lnTo>
                <a:close/>
                <a:moveTo>
                  <a:pt x="475" y="210"/>
                </a:moveTo>
                <a:lnTo>
                  <a:pt x="542" y="210"/>
                </a:lnTo>
                <a:lnTo>
                  <a:pt x="542" y="191"/>
                </a:lnTo>
                <a:lnTo>
                  <a:pt x="475" y="191"/>
                </a:lnTo>
                <a:lnTo>
                  <a:pt x="475" y="210"/>
                </a:lnTo>
                <a:close/>
                <a:moveTo>
                  <a:pt x="475" y="166"/>
                </a:moveTo>
                <a:lnTo>
                  <a:pt x="542" y="166"/>
                </a:lnTo>
                <a:lnTo>
                  <a:pt x="542" y="145"/>
                </a:lnTo>
                <a:lnTo>
                  <a:pt x="475" y="145"/>
                </a:lnTo>
                <a:lnTo>
                  <a:pt x="475" y="166"/>
                </a:lnTo>
                <a:close/>
                <a:moveTo>
                  <a:pt x="475" y="188"/>
                </a:moveTo>
                <a:lnTo>
                  <a:pt x="542" y="188"/>
                </a:lnTo>
                <a:lnTo>
                  <a:pt x="542" y="169"/>
                </a:lnTo>
                <a:lnTo>
                  <a:pt x="475" y="169"/>
                </a:lnTo>
                <a:lnTo>
                  <a:pt x="475" y="188"/>
                </a:lnTo>
                <a:close/>
                <a:moveTo>
                  <a:pt x="704" y="143"/>
                </a:moveTo>
                <a:lnTo>
                  <a:pt x="771" y="143"/>
                </a:lnTo>
                <a:lnTo>
                  <a:pt x="771" y="124"/>
                </a:lnTo>
                <a:lnTo>
                  <a:pt x="704" y="124"/>
                </a:lnTo>
                <a:lnTo>
                  <a:pt x="704" y="143"/>
                </a:lnTo>
                <a:close/>
                <a:moveTo>
                  <a:pt x="704" y="121"/>
                </a:moveTo>
                <a:lnTo>
                  <a:pt x="771" y="121"/>
                </a:lnTo>
                <a:lnTo>
                  <a:pt x="771" y="102"/>
                </a:lnTo>
                <a:lnTo>
                  <a:pt x="704" y="102"/>
                </a:lnTo>
                <a:lnTo>
                  <a:pt x="704" y="121"/>
                </a:lnTo>
                <a:close/>
                <a:moveTo>
                  <a:pt x="28" y="210"/>
                </a:moveTo>
                <a:lnTo>
                  <a:pt x="96" y="210"/>
                </a:lnTo>
                <a:lnTo>
                  <a:pt x="96" y="191"/>
                </a:lnTo>
                <a:lnTo>
                  <a:pt x="28" y="191"/>
                </a:lnTo>
                <a:lnTo>
                  <a:pt x="28" y="210"/>
                </a:lnTo>
                <a:close/>
                <a:moveTo>
                  <a:pt x="102" y="121"/>
                </a:moveTo>
                <a:lnTo>
                  <a:pt x="170" y="121"/>
                </a:lnTo>
                <a:lnTo>
                  <a:pt x="170" y="102"/>
                </a:lnTo>
                <a:lnTo>
                  <a:pt x="102" y="102"/>
                </a:lnTo>
                <a:lnTo>
                  <a:pt x="102" y="121"/>
                </a:lnTo>
                <a:close/>
                <a:moveTo>
                  <a:pt x="102" y="99"/>
                </a:moveTo>
                <a:lnTo>
                  <a:pt x="170" y="99"/>
                </a:lnTo>
                <a:lnTo>
                  <a:pt x="170" y="79"/>
                </a:lnTo>
                <a:lnTo>
                  <a:pt x="102" y="79"/>
                </a:lnTo>
                <a:lnTo>
                  <a:pt x="102" y="99"/>
                </a:lnTo>
                <a:close/>
                <a:moveTo>
                  <a:pt x="102" y="143"/>
                </a:moveTo>
                <a:lnTo>
                  <a:pt x="170" y="143"/>
                </a:lnTo>
                <a:lnTo>
                  <a:pt x="170" y="124"/>
                </a:lnTo>
                <a:lnTo>
                  <a:pt x="102" y="124"/>
                </a:lnTo>
                <a:lnTo>
                  <a:pt x="102" y="143"/>
                </a:lnTo>
                <a:close/>
                <a:moveTo>
                  <a:pt x="778" y="188"/>
                </a:moveTo>
                <a:lnTo>
                  <a:pt x="847" y="188"/>
                </a:lnTo>
                <a:lnTo>
                  <a:pt x="847" y="169"/>
                </a:lnTo>
                <a:lnTo>
                  <a:pt x="778" y="169"/>
                </a:lnTo>
                <a:lnTo>
                  <a:pt x="778" y="188"/>
                </a:lnTo>
                <a:close/>
                <a:moveTo>
                  <a:pt x="102" y="166"/>
                </a:moveTo>
                <a:lnTo>
                  <a:pt x="170" y="166"/>
                </a:lnTo>
                <a:lnTo>
                  <a:pt x="170" y="145"/>
                </a:lnTo>
                <a:lnTo>
                  <a:pt x="102" y="145"/>
                </a:lnTo>
                <a:lnTo>
                  <a:pt x="102" y="166"/>
                </a:lnTo>
                <a:close/>
                <a:moveTo>
                  <a:pt x="102" y="188"/>
                </a:moveTo>
                <a:lnTo>
                  <a:pt x="170" y="188"/>
                </a:lnTo>
                <a:lnTo>
                  <a:pt x="170" y="169"/>
                </a:lnTo>
                <a:lnTo>
                  <a:pt x="102" y="169"/>
                </a:lnTo>
                <a:lnTo>
                  <a:pt x="102" y="188"/>
                </a:lnTo>
                <a:close/>
                <a:moveTo>
                  <a:pt x="102" y="210"/>
                </a:moveTo>
                <a:lnTo>
                  <a:pt x="170" y="210"/>
                </a:lnTo>
                <a:lnTo>
                  <a:pt x="170" y="191"/>
                </a:lnTo>
                <a:lnTo>
                  <a:pt x="102" y="191"/>
                </a:lnTo>
                <a:lnTo>
                  <a:pt x="102" y="210"/>
                </a:lnTo>
                <a:close/>
                <a:moveTo>
                  <a:pt x="28" y="121"/>
                </a:moveTo>
                <a:lnTo>
                  <a:pt x="96" y="121"/>
                </a:lnTo>
                <a:lnTo>
                  <a:pt x="96" y="102"/>
                </a:lnTo>
                <a:lnTo>
                  <a:pt x="28" y="102"/>
                </a:lnTo>
                <a:lnTo>
                  <a:pt x="28" y="121"/>
                </a:lnTo>
                <a:close/>
                <a:moveTo>
                  <a:pt x="28" y="99"/>
                </a:moveTo>
                <a:lnTo>
                  <a:pt x="96" y="99"/>
                </a:lnTo>
                <a:lnTo>
                  <a:pt x="96" y="79"/>
                </a:lnTo>
                <a:lnTo>
                  <a:pt x="28" y="79"/>
                </a:lnTo>
                <a:lnTo>
                  <a:pt x="28" y="99"/>
                </a:lnTo>
                <a:close/>
                <a:moveTo>
                  <a:pt x="325" y="121"/>
                </a:moveTo>
                <a:lnTo>
                  <a:pt x="393" y="121"/>
                </a:lnTo>
                <a:lnTo>
                  <a:pt x="393" y="102"/>
                </a:lnTo>
                <a:lnTo>
                  <a:pt x="325" y="102"/>
                </a:lnTo>
                <a:lnTo>
                  <a:pt x="325" y="121"/>
                </a:lnTo>
                <a:close/>
                <a:moveTo>
                  <a:pt x="28" y="188"/>
                </a:moveTo>
                <a:lnTo>
                  <a:pt x="96" y="188"/>
                </a:lnTo>
                <a:lnTo>
                  <a:pt x="96" y="169"/>
                </a:lnTo>
                <a:lnTo>
                  <a:pt x="28" y="169"/>
                </a:lnTo>
                <a:lnTo>
                  <a:pt x="28" y="188"/>
                </a:lnTo>
                <a:close/>
                <a:moveTo>
                  <a:pt x="28" y="143"/>
                </a:moveTo>
                <a:lnTo>
                  <a:pt x="96" y="143"/>
                </a:lnTo>
                <a:lnTo>
                  <a:pt x="96" y="124"/>
                </a:lnTo>
                <a:lnTo>
                  <a:pt x="28" y="124"/>
                </a:lnTo>
                <a:lnTo>
                  <a:pt x="28" y="143"/>
                </a:lnTo>
                <a:close/>
                <a:moveTo>
                  <a:pt x="28" y="166"/>
                </a:moveTo>
                <a:lnTo>
                  <a:pt x="96" y="166"/>
                </a:lnTo>
                <a:lnTo>
                  <a:pt x="96" y="145"/>
                </a:lnTo>
                <a:lnTo>
                  <a:pt x="28" y="145"/>
                </a:lnTo>
                <a:lnTo>
                  <a:pt x="28" y="166"/>
                </a:lnTo>
                <a:close/>
                <a:moveTo>
                  <a:pt x="251" y="166"/>
                </a:moveTo>
                <a:lnTo>
                  <a:pt x="319" y="166"/>
                </a:lnTo>
                <a:lnTo>
                  <a:pt x="319" y="145"/>
                </a:lnTo>
                <a:lnTo>
                  <a:pt x="251" y="145"/>
                </a:lnTo>
                <a:lnTo>
                  <a:pt x="251" y="166"/>
                </a:lnTo>
                <a:close/>
                <a:moveTo>
                  <a:pt x="251" y="188"/>
                </a:moveTo>
                <a:lnTo>
                  <a:pt x="319" y="188"/>
                </a:lnTo>
                <a:lnTo>
                  <a:pt x="319" y="169"/>
                </a:lnTo>
                <a:lnTo>
                  <a:pt x="251" y="169"/>
                </a:lnTo>
                <a:lnTo>
                  <a:pt x="251" y="188"/>
                </a:lnTo>
                <a:close/>
                <a:moveTo>
                  <a:pt x="251" y="143"/>
                </a:moveTo>
                <a:lnTo>
                  <a:pt x="319" y="143"/>
                </a:lnTo>
                <a:lnTo>
                  <a:pt x="319" y="124"/>
                </a:lnTo>
                <a:lnTo>
                  <a:pt x="251" y="124"/>
                </a:lnTo>
                <a:lnTo>
                  <a:pt x="251" y="143"/>
                </a:lnTo>
                <a:close/>
                <a:moveTo>
                  <a:pt x="325" y="99"/>
                </a:moveTo>
                <a:lnTo>
                  <a:pt x="393" y="99"/>
                </a:lnTo>
                <a:lnTo>
                  <a:pt x="393" y="79"/>
                </a:lnTo>
                <a:lnTo>
                  <a:pt x="325" y="79"/>
                </a:lnTo>
                <a:lnTo>
                  <a:pt x="325" y="99"/>
                </a:lnTo>
                <a:close/>
                <a:moveTo>
                  <a:pt x="176" y="99"/>
                </a:moveTo>
                <a:lnTo>
                  <a:pt x="245" y="99"/>
                </a:lnTo>
                <a:lnTo>
                  <a:pt x="245" y="79"/>
                </a:lnTo>
                <a:lnTo>
                  <a:pt x="176" y="79"/>
                </a:lnTo>
                <a:lnTo>
                  <a:pt x="176" y="99"/>
                </a:lnTo>
                <a:close/>
                <a:moveTo>
                  <a:pt x="251" y="210"/>
                </a:moveTo>
                <a:lnTo>
                  <a:pt x="319" y="210"/>
                </a:lnTo>
                <a:lnTo>
                  <a:pt x="319" y="191"/>
                </a:lnTo>
                <a:lnTo>
                  <a:pt x="251" y="191"/>
                </a:lnTo>
                <a:lnTo>
                  <a:pt x="251" y="210"/>
                </a:lnTo>
                <a:close/>
                <a:moveTo>
                  <a:pt x="251" y="121"/>
                </a:moveTo>
                <a:lnTo>
                  <a:pt x="319" y="121"/>
                </a:lnTo>
                <a:lnTo>
                  <a:pt x="319" y="102"/>
                </a:lnTo>
                <a:lnTo>
                  <a:pt x="251" y="102"/>
                </a:lnTo>
                <a:lnTo>
                  <a:pt x="251" y="121"/>
                </a:lnTo>
                <a:close/>
                <a:moveTo>
                  <a:pt x="176" y="210"/>
                </a:moveTo>
                <a:lnTo>
                  <a:pt x="245" y="210"/>
                </a:lnTo>
                <a:lnTo>
                  <a:pt x="245" y="191"/>
                </a:lnTo>
                <a:lnTo>
                  <a:pt x="176" y="191"/>
                </a:lnTo>
                <a:lnTo>
                  <a:pt x="176" y="210"/>
                </a:lnTo>
                <a:close/>
                <a:moveTo>
                  <a:pt x="176" y="121"/>
                </a:moveTo>
                <a:lnTo>
                  <a:pt x="245" y="121"/>
                </a:lnTo>
                <a:lnTo>
                  <a:pt x="245" y="102"/>
                </a:lnTo>
                <a:lnTo>
                  <a:pt x="176" y="102"/>
                </a:lnTo>
                <a:lnTo>
                  <a:pt x="176" y="121"/>
                </a:lnTo>
                <a:close/>
                <a:moveTo>
                  <a:pt x="176" y="143"/>
                </a:moveTo>
                <a:lnTo>
                  <a:pt x="245" y="143"/>
                </a:lnTo>
                <a:lnTo>
                  <a:pt x="245" y="124"/>
                </a:lnTo>
                <a:lnTo>
                  <a:pt x="176" y="124"/>
                </a:lnTo>
                <a:lnTo>
                  <a:pt x="176" y="143"/>
                </a:lnTo>
                <a:close/>
                <a:moveTo>
                  <a:pt x="176" y="188"/>
                </a:moveTo>
                <a:lnTo>
                  <a:pt x="245" y="188"/>
                </a:lnTo>
                <a:lnTo>
                  <a:pt x="245" y="169"/>
                </a:lnTo>
                <a:lnTo>
                  <a:pt x="176" y="169"/>
                </a:lnTo>
                <a:lnTo>
                  <a:pt x="176" y="188"/>
                </a:lnTo>
                <a:close/>
                <a:moveTo>
                  <a:pt x="176" y="166"/>
                </a:moveTo>
                <a:lnTo>
                  <a:pt x="245" y="166"/>
                </a:lnTo>
                <a:lnTo>
                  <a:pt x="245" y="145"/>
                </a:lnTo>
                <a:lnTo>
                  <a:pt x="176" y="145"/>
                </a:lnTo>
                <a:lnTo>
                  <a:pt x="176" y="166"/>
                </a:lnTo>
                <a:close/>
                <a:moveTo>
                  <a:pt x="1374" y="143"/>
                </a:moveTo>
                <a:lnTo>
                  <a:pt x="1443" y="143"/>
                </a:lnTo>
                <a:lnTo>
                  <a:pt x="1443" y="124"/>
                </a:lnTo>
                <a:lnTo>
                  <a:pt x="1374" y="124"/>
                </a:lnTo>
                <a:lnTo>
                  <a:pt x="1374" y="143"/>
                </a:lnTo>
                <a:close/>
                <a:moveTo>
                  <a:pt x="1226" y="166"/>
                </a:moveTo>
                <a:lnTo>
                  <a:pt x="1294" y="166"/>
                </a:lnTo>
                <a:lnTo>
                  <a:pt x="1294" y="145"/>
                </a:lnTo>
                <a:lnTo>
                  <a:pt x="1226" y="145"/>
                </a:lnTo>
                <a:lnTo>
                  <a:pt x="1226" y="166"/>
                </a:lnTo>
                <a:close/>
                <a:moveTo>
                  <a:pt x="1300" y="121"/>
                </a:moveTo>
                <a:lnTo>
                  <a:pt x="1368" y="121"/>
                </a:lnTo>
                <a:lnTo>
                  <a:pt x="1368" y="102"/>
                </a:lnTo>
                <a:lnTo>
                  <a:pt x="1300" y="102"/>
                </a:lnTo>
                <a:lnTo>
                  <a:pt x="1300" y="121"/>
                </a:lnTo>
                <a:close/>
                <a:moveTo>
                  <a:pt x="1226" y="188"/>
                </a:moveTo>
                <a:lnTo>
                  <a:pt x="1294" y="188"/>
                </a:lnTo>
                <a:lnTo>
                  <a:pt x="1294" y="169"/>
                </a:lnTo>
                <a:lnTo>
                  <a:pt x="1226" y="169"/>
                </a:lnTo>
                <a:lnTo>
                  <a:pt x="1226" y="188"/>
                </a:lnTo>
                <a:close/>
                <a:moveTo>
                  <a:pt x="1226" y="121"/>
                </a:moveTo>
                <a:lnTo>
                  <a:pt x="1294" y="121"/>
                </a:lnTo>
                <a:lnTo>
                  <a:pt x="1294" y="102"/>
                </a:lnTo>
                <a:lnTo>
                  <a:pt x="1226" y="102"/>
                </a:lnTo>
                <a:lnTo>
                  <a:pt x="1226" y="121"/>
                </a:lnTo>
                <a:close/>
                <a:moveTo>
                  <a:pt x="1226" y="210"/>
                </a:moveTo>
                <a:lnTo>
                  <a:pt x="1294" y="210"/>
                </a:lnTo>
                <a:lnTo>
                  <a:pt x="1294" y="191"/>
                </a:lnTo>
                <a:lnTo>
                  <a:pt x="1226" y="191"/>
                </a:lnTo>
                <a:lnTo>
                  <a:pt x="1226" y="210"/>
                </a:lnTo>
                <a:close/>
                <a:moveTo>
                  <a:pt x="1300" y="99"/>
                </a:moveTo>
                <a:lnTo>
                  <a:pt x="1368" y="99"/>
                </a:lnTo>
                <a:lnTo>
                  <a:pt x="1368" y="79"/>
                </a:lnTo>
                <a:lnTo>
                  <a:pt x="1300" y="79"/>
                </a:lnTo>
                <a:lnTo>
                  <a:pt x="1300" y="99"/>
                </a:lnTo>
                <a:close/>
                <a:moveTo>
                  <a:pt x="1226" y="143"/>
                </a:moveTo>
                <a:lnTo>
                  <a:pt x="1294" y="143"/>
                </a:lnTo>
                <a:lnTo>
                  <a:pt x="1294" y="124"/>
                </a:lnTo>
                <a:lnTo>
                  <a:pt x="1226" y="124"/>
                </a:lnTo>
                <a:lnTo>
                  <a:pt x="1226" y="143"/>
                </a:lnTo>
                <a:close/>
                <a:moveTo>
                  <a:pt x="1151" y="143"/>
                </a:moveTo>
                <a:lnTo>
                  <a:pt x="1220" y="143"/>
                </a:lnTo>
                <a:lnTo>
                  <a:pt x="1220" y="124"/>
                </a:lnTo>
                <a:lnTo>
                  <a:pt x="1151" y="124"/>
                </a:lnTo>
                <a:lnTo>
                  <a:pt x="1151" y="143"/>
                </a:lnTo>
                <a:close/>
                <a:moveTo>
                  <a:pt x="1151" y="166"/>
                </a:moveTo>
                <a:lnTo>
                  <a:pt x="1220" y="166"/>
                </a:lnTo>
                <a:lnTo>
                  <a:pt x="1220" y="145"/>
                </a:lnTo>
                <a:lnTo>
                  <a:pt x="1151" y="145"/>
                </a:lnTo>
                <a:lnTo>
                  <a:pt x="1151" y="166"/>
                </a:lnTo>
                <a:close/>
                <a:moveTo>
                  <a:pt x="1151" y="188"/>
                </a:moveTo>
                <a:lnTo>
                  <a:pt x="1220" y="188"/>
                </a:lnTo>
                <a:lnTo>
                  <a:pt x="1220" y="169"/>
                </a:lnTo>
                <a:lnTo>
                  <a:pt x="1151" y="169"/>
                </a:lnTo>
                <a:lnTo>
                  <a:pt x="1151" y="188"/>
                </a:lnTo>
                <a:close/>
                <a:moveTo>
                  <a:pt x="1226" y="99"/>
                </a:moveTo>
                <a:lnTo>
                  <a:pt x="1294" y="99"/>
                </a:lnTo>
                <a:lnTo>
                  <a:pt x="1294" y="79"/>
                </a:lnTo>
                <a:lnTo>
                  <a:pt x="1226" y="79"/>
                </a:lnTo>
                <a:lnTo>
                  <a:pt x="1226" y="99"/>
                </a:lnTo>
                <a:close/>
                <a:moveTo>
                  <a:pt x="1151" y="121"/>
                </a:moveTo>
                <a:lnTo>
                  <a:pt x="1218" y="121"/>
                </a:lnTo>
                <a:lnTo>
                  <a:pt x="1218" y="102"/>
                </a:lnTo>
                <a:lnTo>
                  <a:pt x="1151" y="102"/>
                </a:lnTo>
                <a:lnTo>
                  <a:pt x="1151" y="121"/>
                </a:lnTo>
                <a:close/>
                <a:moveTo>
                  <a:pt x="1151" y="210"/>
                </a:moveTo>
                <a:lnTo>
                  <a:pt x="1220" y="210"/>
                </a:lnTo>
                <a:lnTo>
                  <a:pt x="1220" y="191"/>
                </a:lnTo>
                <a:lnTo>
                  <a:pt x="1151" y="191"/>
                </a:lnTo>
                <a:lnTo>
                  <a:pt x="1151" y="210"/>
                </a:lnTo>
                <a:close/>
                <a:moveTo>
                  <a:pt x="1449" y="166"/>
                </a:moveTo>
                <a:lnTo>
                  <a:pt x="1517" y="166"/>
                </a:lnTo>
                <a:lnTo>
                  <a:pt x="1517" y="145"/>
                </a:lnTo>
                <a:lnTo>
                  <a:pt x="1449" y="145"/>
                </a:lnTo>
                <a:lnTo>
                  <a:pt x="1449" y="166"/>
                </a:lnTo>
                <a:close/>
                <a:moveTo>
                  <a:pt x="1374" y="188"/>
                </a:moveTo>
                <a:lnTo>
                  <a:pt x="1443" y="188"/>
                </a:lnTo>
                <a:lnTo>
                  <a:pt x="1443" y="169"/>
                </a:lnTo>
                <a:lnTo>
                  <a:pt x="1374" y="169"/>
                </a:lnTo>
                <a:lnTo>
                  <a:pt x="1374" y="188"/>
                </a:lnTo>
                <a:close/>
                <a:moveTo>
                  <a:pt x="1449" y="121"/>
                </a:moveTo>
                <a:lnTo>
                  <a:pt x="1517" y="121"/>
                </a:lnTo>
                <a:lnTo>
                  <a:pt x="1517" y="102"/>
                </a:lnTo>
                <a:lnTo>
                  <a:pt x="1449" y="102"/>
                </a:lnTo>
                <a:lnTo>
                  <a:pt x="1449" y="121"/>
                </a:lnTo>
                <a:close/>
                <a:moveTo>
                  <a:pt x="1449" y="143"/>
                </a:moveTo>
                <a:lnTo>
                  <a:pt x="1517" y="143"/>
                </a:lnTo>
                <a:lnTo>
                  <a:pt x="1517" y="124"/>
                </a:lnTo>
                <a:lnTo>
                  <a:pt x="1449" y="124"/>
                </a:lnTo>
                <a:lnTo>
                  <a:pt x="1449" y="143"/>
                </a:lnTo>
                <a:close/>
                <a:moveTo>
                  <a:pt x="1542" y="294"/>
                </a:moveTo>
                <a:lnTo>
                  <a:pt x="19" y="294"/>
                </a:lnTo>
                <a:lnTo>
                  <a:pt x="19" y="294"/>
                </a:lnTo>
                <a:lnTo>
                  <a:pt x="26" y="303"/>
                </a:lnTo>
                <a:lnTo>
                  <a:pt x="35" y="313"/>
                </a:lnTo>
                <a:lnTo>
                  <a:pt x="48" y="320"/>
                </a:lnTo>
                <a:lnTo>
                  <a:pt x="57" y="324"/>
                </a:lnTo>
                <a:lnTo>
                  <a:pt x="66" y="327"/>
                </a:lnTo>
                <a:lnTo>
                  <a:pt x="66" y="327"/>
                </a:lnTo>
                <a:lnTo>
                  <a:pt x="86" y="333"/>
                </a:lnTo>
                <a:lnTo>
                  <a:pt x="109" y="338"/>
                </a:lnTo>
                <a:lnTo>
                  <a:pt x="159" y="346"/>
                </a:lnTo>
                <a:lnTo>
                  <a:pt x="216" y="355"/>
                </a:lnTo>
                <a:lnTo>
                  <a:pt x="1580" y="355"/>
                </a:lnTo>
                <a:lnTo>
                  <a:pt x="1580" y="355"/>
                </a:lnTo>
                <a:lnTo>
                  <a:pt x="1583" y="355"/>
                </a:lnTo>
                <a:lnTo>
                  <a:pt x="1585" y="354"/>
                </a:lnTo>
                <a:lnTo>
                  <a:pt x="1591" y="348"/>
                </a:lnTo>
                <a:lnTo>
                  <a:pt x="1594" y="340"/>
                </a:lnTo>
                <a:lnTo>
                  <a:pt x="1596" y="333"/>
                </a:lnTo>
                <a:lnTo>
                  <a:pt x="1596" y="333"/>
                </a:lnTo>
                <a:lnTo>
                  <a:pt x="1594" y="326"/>
                </a:lnTo>
                <a:lnTo>
                  <a:pt x="1591" y="322"/>
                </a:lnTo>
                <a:lnTo>
                  <a:pt x="1585" y="317"/>
                </a:lnTo>
                <a:lnTo>
                  <a:pt x="1580" y="317"/>
                </a:lnTo>
                <a:lnTo>
                  <a:pt x="1534" y="317"/>
                </a:lnTo>
                <a:lnTo>
                  <a:pt x="1534" y="317"/>
                </a:lnTo>
                <a:lnTo>
                  <a:pt x="1534" y="317"/>
                </a:lnTo>
                <a:lnTo>
                  <a:pt x="1532" y="316"/>
                </a:lnTo>
                <a:lnTo>
                  <a:pt x="1530" y="314"/>
                </a:lnTo>
                <a:lnTo>
                  <a:pt x="1529" y="313"/>
                </a:lnTo>
                <a:lnTo>
                  <a:pt x="1529" y="310"/>
                </a:lnTo>
                <a:lnTo>
                  <a:pt x="1529" y="310"/>
                </a:lnTo>
                <a:lnTo>
                  <a:pt x="1529" y="308"/>
                </a:lnTo>
                <a:lnTo>
                  <a:pt x="1542" y="294"/>
                </a:lnTo>
                <a:close/>
                <a:moveTo>
                  <a:pt x="0" y="226"/>
                </a:moveTo>
                <a:lnTo>
                  <a:pt x="12" y="285"/>
                </a:lnTo>
                <a:lnTo>
                  <a:pt x="1549" y="285"/>
                </a:lnTo>
                <a:lnTo>
                  <a:pt x="1618" y="205"/>
                </a:lnTo>
                <a:lnTo>
                  <a:pt x="1618" y="205"/>
                </a:lnTo>
                <a:lnTo>
                  <a:pt x="1619" y="204"/>
                </a:lnTo>
                <a:lnTo>
                  <a:pt x="1616" y="202"/>
                </a:lnTo>
                <a:lnTo>
                  <a:pt x="1532" y="202"/>
                </a:lnTo>
                <a:lnTo>
                  <a:pt x="1530" y="180"/>
                </a:lnTo>
                <a:lnTo>
                  <a:pt x="1517" y="183"/>
                </a:lnTo>
                <a:lnTo>
                  <a:pt x="1517" y="169"/>
                </a:lnTo>
                <a:lnTo>
                  <a:pt x="1449" y="169"/>
                </a:lnTo>
                <a:lnTo>
                  <a:pt x="1449" y="188"/>
                </a:lnTo>
                <a:lnTo>
                  <a:pt x="1492" y="188"/>
                </a:lnTo>
                <a:lnTo>
                  <a:pt x="1475" y="191"/>
                </a:lnTo>
                <a:lnTo>
                  <a:pt x="1449" y="191"/>
                </a:lnTo>
                <a:lnTo>
                  <a:pt x="1449" y="195"/>
                </a:lnTo>
                <a:lnTo>
                  <a:pt x="1443" y="196"/>
                </a:lnTo>
                <a:lnTo>
                  <a:pt x="1443" y="191"/>
                </a:lnTo>
                <a:lnTo>
                  <a:pt x="1374" y="191"/>
                </a:lnTo>
                <a:lnTo>
                  <a:pt x="1374" y="208"/>
                </a:lnTo>
                <a:lnTo>
                  <a:pt x="1368" y="210"/>
                </a:lnTo>
                <a:lnTo>
                  <a:pt x="1368" y="191"/>
                </a:lnTo>
                <a:lnTo>
                  <a:pt x="1300" y="191"/>
                </a:lnTo>
                <a:lnTo>
                  <a:pt x="1300" y="210"/>
                </a:lnTo>
                <a:lnTo>
                  <a:pt x="1368" y="210"/>
                </a:lnTo>
                <a:lnTo>
                  <a:pt x="1323" y="218"/>
                </a:lnTo>
                <a:lnTo>
                  <a:pt x="667" y="218"/>
                </a:lnTo>
                <a:lnTo>
                  <a:pt x="667" y="87"/>
                </a:lnTo>
                <a:lnTo>
                  <a:pt x="679" y="80"/>
                </a:lnTo>
                <a:lnTo>
                  <a:pt x="679" y="48"/>
                </a:lnTo>
                <a:lnTo>
                  <a:pt x="638" y="48"/>
                </a:lnTo>
                <a:lnTo>
                  <a:pt x="638" y="3"/>
                </a:lnTo>
                <a:lnTo>
                  <a:pt x="638" y="3"/>
                </a:lnTo>
                <a:lnTo>
                  <a:pt x="638" y="1"/>
                </a:lnTo>
                <a:lnTo>
                  <a:pt x="637" y="0"/>
                </a:lnTo>
                <a:lnTo>
                  <a:pt x="609" y="0"/>
                </a:lnTo>
                <a:lnTo>
                  <a:pt x="609" y="0"/>
                </a:lnTo>
                <a:lnTo>
                  <a:pt x="608" y="1"/>
                </a:lnTo>
                <a:lnTo>
                  <a:pt x="608" y="3"/>
                </a:lnTo>
                <a:lnTo>
                  <a:pt x="603" y="48"/>
                </a:lnTo>
                <a:lnTo>
                  <a:pt x="587" y="48"/>
                </a:lnTo>
                <a:lnTo>
                  <a:pt x="573" y="218"/>
                </a:lnTo>
                <a:lnTo>
                  <a:pt x="20" y="218"/>
                </a:lnTo>
                <a:lnTo>
                  <a:pt x="20" y="226"/>
                </a:lnTo>
                <a:lnTo>
                  <a:pt x="0" y="226"/>
                </a:lnTo>
                <a:close/>
                <a:moveTo>
                  <a:pt x="1374" y="166"/>
                </a:moveTo>
                <a:lnTo>
                  <a:pt x="1443" y="166"/>
                </a:lnTo>
                <a:lnTo>
                  <a:pt x="1443" y="145"/>
                </a:lnTo>
                <a:lnTo>
                  <a:pt x="1374" y="145"/>
                </a:lnTo>
                <a:lnTo>
                  <a:pt x="1374" y="166"/>
                </a:lnTo>
                <a:close/>
                <a:moveTo>
                  <a:pt x="1300" y="188"/>
                </a:moveTo>
                <a:lnTo>
                  <a:pt x="1368" y="188"/>
                </a:lnTo>
                <a:lnTo>
                  <a:pt x="1368" y="169"/>
                </a:lnTo>
                <a:lnTo>
                  <a:pt x="1300" y="169"/>
                </a:lnTo>
                <a:lnTo>
                  <a:pt x="1300" y="188"/>
                </a:lnTo>
                <a:close/>
                <a:moveTo>
                  <a:pt x="1300" y="166"/>
                </a:moveTo>
                <a:lnTo>
                  <a:pt x="1368" y="166"/>
                </a:lnTo>
                <a:lnTo>
                  <a:pt x="1368" y="145"/>
                </a:lnTo>
                <a:lnTo>
                  <a:pt x="1300" y="145"/>
                </a:lnTo>
                <a:lnTo>
                  <a:pt x="1300" y="166"/>
                </a:lnTo>
                <a:close/>
                <a:moveTo>
                  <a:pt x="1300" y="143"/>
                </a:moveTo>
                <a:lnTo>
                  <a:pt x="1368" y="143"/>
                </a:lnTo>
                <a:lnTo>
                  <a:pt x="1368" y="124"/>
                </a:lnTo>
                <a:lnTo>
                  <a:pt x="1300" y="124"/>
                </a:lnTo>
                <a:lnTo>
                  <a:pt x="1300" y="143"/>
                </a:lnTo>
                <a:close/>
                <a:moveTo>
                  <a:pt x="778" y="210"/>
                </a:moveTo>
                <a:lnTo>
                  <a:pt x="847" y="210"/>
                </a:lnTo>
                <a:lnTo>
                  <a:pt x="847" y="191"/>
                </a:lnTo>
                <a:lnTo>
                  <a:pt x="778" y="191"/>
                </a:lnTo>
                <a:lnTo>
                  <a:pt x="778" y="210"/>
                </a:lnTo>
                <a:close/>
                <a:moveTo>
                  <a:pt x="1374" y="121"/>
                </a:moveTo>
                <a:lnTo>
                  <a:pt x="1443" y="121"/>
                </a:lnTo>
                <a:lnTo>
                  <a:pt x="1443" y="102"/>
                </a:lnTo>
                <a:lnTo>
                  <a:pt x="1374" y="102"/>
                </a:lnTo>
                <a:lnTo>
                  <a:pt x="1374" y="121"/>
                </a:lnTo>
                <a:close/>
                <a:moveTo>
                  <a:pt x="1374" y="99"/>
                </a:moveTo>
                <a:lnTo>
                  <a:pt x="1443" y="99"/>
                </a:lnTo>
                <a:lnTo>
                  <a:pt x="1443" y="79"/>
                </a:lnTo>
                <a:lnTo>
                  <a:pt x="1374" y="79"/>
                </a:lnTo>
                <a:lnTo>
                  <a:pt x="1374" y="99"/>
                </a:lnTo>
                <a:close/>
                <a:moveTo>
                  <a:pt x="852" y="210"/>
                </a:moveTo>
                <a:lnTo>
                  <a:pt x="921" y="210"/>
                </a:lnTo>
                <a:lnTo>
                  <a:pt x="921" y="191"/>
                </a:lnTo>
                <a:lnTo>
                  <a:pt x="852" y="191"/>
                </a:lnTo>
                <a:lnTo>
                  <a:pt x="852" y="210"/>
                </a:lnTo>
                <a:close/>
                <a:moveTo>
                  <a:pt x="927" y="121"/>
                </a:moveTo>
                <a:lnTo>
                  <a:pt x="995" y="121"/>
                </a:lnTo>
                <a:lnTo>
                  <a:pt x="995" y="102"/>
                </a:lnTo>
                <a:lnTo>
                  <a:pt x="927" y="102"/>
                </a:lnTo>
                <a:lnTo>
                  <a:pt x="927" y="121"/>
                </a:lnTo>
                <a:close/>
                <a:moveTo>
                  <a:pt x="927" y="210"/>
                </a:moveTo>
                <a:lnTo>
                  <a:pt x="995" y="210"/>
                </a:lnTo>
                <a:lnTo>
                  <a:pt x="995" y="191"/>
                </a:lnTo>
                <a:lnTo>
                  <a:pt x="927" y="191"/>
                </a:lnTo>
                <a:lnTo>
                  <a:pt x="927" y="210"/>
                </a:lnTo>
                <a:close/>
                <a:moveTo>
                  <a:pt x="927" y="143"/>
                </a:moveTo>
                <a:lnTo>
                  <a:pt x="995" y="143"/>
                </a:lnTo>
                <a:lnTo>
                  <a:pt x="995" y="124"/>
                </a:lnTo>
                <a:lnTo>
                  <a:pt x="927" y="124"/>
                </a:lnTo>
                <a:lnTo>
                  <a:pt x="927" y="143"/>
                </a:lnTo>
                <a:close/>
                <a:moveTo>
                  <a:pt x="1151" y="99"/>
                </a:moveTo>
                <a:lnTo>
                  <a:pt x="1218" y="99"/>
                </a:lnTo>
                <a:lnTo>
                  <a:pt x="1218" y="79"/>
                </a:lnTo>
                <a:lnTo>
                  <a:pt x="1151" y="79"/>
                </a:lnTo>
                <a:lnTo>
                  <a:pt x="1151" y="99"/>
                </a:lnTo>
                <a:close/>
                <a:moveTo>
                  <a:pt x="927" y="166"/>
                </a:moveTo>
                <a:lnTo>
                  <a:pt x="995" y="166"/>
                </a:lnTo>
                <a:lnTo>
                  <a:pt x="995" y="145"/>
                </a:lnTo>
                <a:lnTo>
                  <a:pt x="927" y="145"/>
                </a:lnTo>
                <a:lnTo>
                  <a:pt x="927" y="166"/>
                </a:lnTo>
                <a:close/>
                <a:moveTo>
                  <a:pt x="927" y="99"/>
                </a:moveTo>
                <a:lnTo>
                  <a:pt x="995" y="99"/>
                </a:lnTo>
                <a:lnTo>
                  <a:pt x="995" y="79"/>
                </a:lnTo>
                <a:lnTo>
                  <a:pt x="927" y="79"/>
                </a:lnTo>
                <a:lnTo>
                  <a:pt x="927" y="99"/>
                </a:lnTo>
                <a:close/>
                <a:moveTo>
                  <a:pt x="852" y="99"/>
                </a:moveTo>
                <a:lnTo>
                  <a:pt x="921" y="99"/>
                </a:lnTo>
                <a:lnTo>
                  <a:pt x="921" y="79"/>
                </a:lnTo>
                <a:lnTo>
                  <a:pt x="852" y="79"/>
                </a:lnTo>
                <a:lnTo>
                  <a:pt x="852" y="99"/>
                </a:lnTo>
                <a:close/>
                <a:moveTo>
                  <a:pt x="852" y="188"/>
                </a:moveTo>
                <a:lnTo>
                  <a:pt x="921" y="188"/>
                </a:lnTo>
                <a:lnTo>
                  <a:pt x="921" y="169"/>
                </a:lnTo>
                <a:lnTo>
                  <a:pt x="852" y="169"/>
                </a:lnTo>
                <a:lnTo>
                  <a:pt x="852" y="188"/>
                </a:lnTo>
                <a:close/>
                <a:moveTo>
                  <a:pt x="852" y="121"/>
                </a:moveTo>
                <a:lnTo>
                  <a:pt x="921" y="121"/>
                </a:lnTo>
                <a:lnTo>
                  <a:pt x="921" y="102"/>
                </a:lnTo>
                <a:lnTo>
                  <a:pt x="852" y="102"/>
                </a:lnTo>
                <a:lnTo>
                  <a:pt x="852" y="121"/>
                </a:lnTo>
                <a:close/>
                <a:moveTo>
                  <a:pt x="852" y="143"/>
                </a:moveTo>
                <a:lnTo>
                  <a:pt x="921" y="143"/>
                </a:lnTo>
                <a:lnTo>
                  <a:pt x="921" y="124"/>
                </a:lnTo>
                <a:lnTo>
                  <a:pt x="852" y="124"/>
                </a:lnTo>
                <a:lnTo>
                  <a:pt x="852" y="143"/>
                </a:lnTo>
                <a:close/>
                <a:moveTo>
                  <a:pt x="852" y="166"/>
                </a:moveTo>
                <a:lnTo>
                  <a:pt x="921" y="166"/>
                </a:lnTo>
                <a:lnTo>
                  <a:pt x="921" y="145"/>
                </a:lnTo>
                <a:lnTo>
                  <a:pt x="852" y="145"/>
                </a:lnTo>
                <a:lnTo>
                  <a:pt x="852" y="166"/>
                </a:lnTo>
                <a:close/>
                <a:moveTo>
                  <a:pt x="927" y="188"/>
                </a:moveTo>
                <a:lnTo>
                  <a:pt x="995" y="188"/>
                </a:lnTo>
                <a:lnTo>
                  <a:pt x="995" y="169"/>
                </a:lnTo>
                <a:lnTo>
                  <a:pt x="927" y="169"/>
                </a:lnTo>
                <a:lnTo>
                  <a:pt x="927" y="188"/>
                </a:lnTo>
                <a:close/>
                <a:moveTo>
                  <a:pt x="1077" y="166"/>
                </a:moveTo>
                <a:lnTo>
                  <a:pt x="1144" y="166"/>
                </a:lnTo>
                <a:lnTo>
                  <a:pt x="1144" y="145"/>
                </a:lnTo>
                <a:lnTo>
                  <a:pt x="1077" y="145"/>
                </a:lnTo>
                <a:lnTo>
                  <a:pt x="1077" y="166"/>
                </a:lnTo>
                <a:close/>
                <a:moveTo>
                  <a:pt x="1077" y="143"/>
                </a:moveTo>
                <a:lnTo>
                  <a:pt x="1144" y="143"/>
                </a:lnTo>
                <a:lnTo>
                  <a:pt x="1144" y="124"/>
                </a:lnTo>
                <a:lnTo>
                  <a:pt x="1077" y="124"/>
                </a:lnTo>
                <a:lnTo>
                  <a:pt x="1077" y="143"/>
                </a:lnTo>
                <a:close/>
                <a:moveTo>
                  <a:pt x="1077" y="121"/>
                </a:moveTo>
                <a:lnTo>
                  <a:pt x="1144" y="121"/>
                </a:lnTo>
                <a:lnTo>
                  <a:pt x="1144" y="102"/>
                </a:lnTo>
                <a:lnTo>
                  <a:pt x="1077" y="102"/>
                </a:lnTo>
                <a:lnTo>
                  <a:pt x="1077" y="121"/>
                </a:lnTo>
                <a:close/>
                <a:moveTo>
                  <a:pt x="1077" y="210"/>
                </a:moveTo>
                <a:lnTo>
                  <a:pt x="1144" y="210"/>
                </a:lnTo>
                <a:lnTo>
                  <a:pt x="1144" y="191"/>
                </a:lnTo>
                <a:lnTo>
                  <a:pt x="1077" y="191"/>
                </a:lnTo>
                <a:lnTo>
                  <a:pt x="1077" y="210"/>
                </a:lnTo>
                <a:close/>
                <a:moveTo>
                  <a:pt x="1077" y="99"/>
                </a:moveTo>
                <a:lnTo>
                  <a:pt x="1144" y="99"/>
                </a:lnTo>
                <a:lnTo>
                  <a:pt x="1144" y="79"/>
                </a:lnTo>
                <a:lnTo>
                  <a:pt x="1077" y="79"/>
                </a:lnTo>
                <a:lnTo>
                  <a:pt x="1077" y="99"/>
                </a:lnTo>
                <a:close/>
                <a:moveTo>
                  <a:pt x="1077" y="188"/>
                </a:moveTo>
                <a:lnTo>
                  <a:pt x="1144" y="188"/>
                </a:lnTo>
                <a:lnTo>
                  <a:pt x="1144" y="169"/>
                </a:lnTo>
                <a:lnTo>
                  <a:pt x="1077" y="169"/>
                </a:lnTo>
                <a:lnTo>
                  <a:pt x="1077" y="188"/>
                </a:lnTo>
                <a:close/>
                <a:moveTo>
                  <a:pt x="1001" y="188"/>
                </a:moveTo>
                <a:lnTo>
                  <a:pt x="1070" y="188"/>
                </a:lnTo>
                <a:lnTo>
                  <a:pt x="1070" y="169"/>
                </a:lnTo>
                <a:lnTo>
                  <a:pt x="1001" y="169"/>
                </a:lnTo>
                <a:lnTo>
                  <a:pt x="1001" y="188"/>
                </a:lnTo>
                <a:close/>
                <a:moveTo>
                  <a:pt x="1001" y="210"/>
                </a:moveTo>
                <a:lnTo>
                  <a:pt x="1070" y="210"/>
                </a:lnTo>
                <a:lnTo>
                  <a:pt x="1070" y="191"/>
                </a:lnTo>
                <a:lnTo>
                  <a:pt x="1001" y="191"/>
                </a:lnTo>
                <a:lnTo>
                  <a:pt x="1001" y="210"/>
                </a:lnTo>
                <a:close/>
                <a:moveTo>
                  <a:pt x="1001" y="121"/>
                </a:moveTo>
                <a:lnTo>
                  <a:pt x="1070" y="121"/>
                </a:lnTo>
                <a:lnTo>
                  <a:pt x="1070" y="102"/>
                </a:lnTo>
                <a:lnTo>
                  <a:pt x="1001" y="102"/>
                </a:lnTo>
                <a:lnTo>
                  <a:pt x="1001" y="121"/>
                </a:lnTo>
                <a:close/>
                <a:moveTo>
                  <a:pt x="1001" y="143"/>
                </a:moveTo>
                <a:lnTo>
                  <a:pt x="1070" y="143"/>
                </a:lnTo>
                <a:lnTo>
                  <a:pt x="1070" y="124"/>
                </a:lnTo>
                <a:lnTo>
                  <a:pt x="1001" y="124"/>
                </a:lnTo>
                <a:lnTo>
                  <a:pt x="1001" y="143"/>
                </a:lnTo>
                <a:close/>
                <a:moveTo>
                  <a:pt x="1001" y="99"/>
                </a:moveTo>
                <a:lnTo>
                  <a:pt x="1070" y="99"/>
                </a:lnTo>
                <a:lnTo>
                  <a:pt x="1070" y="79"/>
                </a:lnTo>
                <a:lnTo>
                  <a:pt x="1001" y="79"/>
                </a:lnTo>
                <a:lnTo>
                  <a:pt x="1001" y="99"/>
                </a:lnTo>
                <a:close/>
                <a:moveTo>
                  <a:pt x="1001" y="166"/>
                </a:moveTo>
                <a:lnTo>
                  <a:pt x="1070" y="166"/>
                </a:lnTo>
                <a:lnTo>
                  <a:pt x="1070" y="145"/>
                </a:lnTo>
                <a:lnTo>
                  <a:pt x="1001" y="145"/>
                </a:lnTo>
                <a:lnTo>
                  <a:pt x="1001" y="166"/>
                </a:lnTo>
                <a:close/>
              </a:path>
            </a:pathLst>
          </a:custGeom>
          <a:solidFill>
            <a:srgbClr val="004E6B"/>
          </a:solidFill>
          <a:ln w="9525">
            <a:noFill/>
            <a:round/>
            <a:headEnd/>
            <a:tailEnd/>
          </a:ln>
          <a:effectLst>
            <a:reflection blurRad="6350" stA="52000" endA="300" endPos="35000" dir="5400000" sy="-100000" algn="bl" rotWithShape="0"/>
          </a:effectLst>
        </p:spPr>
        <p:txBody>
          <a:bodyPr vert="horz" wrap="square" lIns="91440" tIns="45720" rIns="91440" bIns="45720" numCol="1" anchor="t" anchorCtr="0" compatLnSpc="1">
            <a:prstTxWarp prst="textNoShape">
              <a:avLst/>
            </a:prstTxWarp>
          </a:bodyPr>
          <a:lstStyle/>
          <a:p>
            <a:pPr>
              <a:defRPr/>
            </a:pPr>
            <a:r>
              <a:rPr lang="en-GB" kern="0" dirty="0">
                <a:solidFill>
                  <a:srgbClr val="000000"/>
                </a:solidFill>
                <a:latin typeface="Zetta Sans Book"/>
              </a:rPr>
              <a:t> </a:t>
            </a:r>
          </a:p>
        </p:txBody>
      </p:sp>
      <p:sp>
        <p:nvSpPr>
          <p:cNvPr id="158" name="Rectangle 5"/>
          <p:cNvSpPr>
            <a:spLocks noChangeArrowheads="1"/>
          </p:cNvSpPr>
          <p:nvPr/>
        </p:nvSpPr>
        <p:spPr bwMode="auto">
          <a:xfrm>
            <a:off x="4727805" y="4389702"/>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59" name="Rectangle 6"/>
          <p:cNvSpPr>
            <a:spLocks noChangeArrowheads="1"/>
          </p:cNvSpPr>
          <p:nvPr/>
        </p:nvSpPr>
        <p:spPr bwMode="auto">
          <a:xfrm>
            <a:off x="4727805" y="4321961"/>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0" name="Rectangle 7"/>
          <p:cNvSpPr>
            <a:spLocks noChangeArrowheads="1"/>
          </p:cNvSpPr>
          <p:nvPr/>
        </p:nvSpPr>
        <p:spPr bwMode="auto">
          <a:xfrm>
            <a:off x="4727805" y="4254218"/>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1" name="Rectangle 8"/>
          <p:cNvSpPr>
            <a:spLocks noChangeArrowheads="1"/>
          </p:cNvSpPr>
          <p:nvPr/>
        </p:nvSpPr>
        <p:spPr bwMode="auto">
          <a:xfrm>
            <a:off x="4727805" y="4186475"/>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2" name="Rectangle 9"/>
          <p:cNvSpPr>
            <a:spLocks noChangeArrowheads="1"/>
          </p:cNvSpPr>
          <p:nvPr/>
        </p:nvSpPr>
        <p:spPr bwMode="auto">
          <a:xfrm>
            <a:off x="4727805" y="4118733"/>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3" name="Rectangle 10"/>
          <p:cNvSpPr>
            <a:spLocks noChangeArrowheads="1"/>
          </p:cNvSpPr>
          <p:nvPr/>
        </p:nvSpPr>
        <p:spPr bwMode="auto">
          <a:xfrm>
            <a:off x="4515423" y="4389702"/>
            <a:ext cx="19590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4" name="Rectangle 11"/>
          <p:cNvSpPr>
            <a:spLocks noChangeArrowheads="1"/>
          </p:cNvSpPr>
          <p:nvPr/>
        </p:nvSpPr>
        <p:spPr bwMode="auto">
          <a:xfrm>
            <a:off x="4515423" y="4321961"/>
            <a:ext cx="19590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5" name="Rectangle 12"/>
          <p:cNvSpPr>
            <a:spLocks noChangeArrowheads="1"/>
          </p:cNvSpPr>
          <p:nvPr/>
        </p:nvSpPr>
        <p:spPr bwMode="auto">
          <a:xfrm>
            <a:off x="4515423" y="4254218"/>
            <a:ext cx="19590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6" name="Rectangle 13"/>
          <p:cNvSpPr>
            <a:spLocks noChangeArrowheads="1"/>
          </p:cNvSpPr>
          <p:nvPr/>
        </p:nvSpPr>
        <p:spPr bwMode="auto">
          <a:xfrm>
            <a:off x="4515423" y="4186475"/>
            <a:ext cx="19590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7" name="Rectangle 14"/>
          <p:cNvSpPr>
            <a:spLocks noChangeArrowheads="1"/>
          </p:cNvSpPr>
          <p:nvPr/>
        </p:nvSpPr>
        <p:spPr bwMode="auto">
          <a:xfrm>
            <a:off x="4515423" y="4118733"/>
            <a:ext cx="19590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8" name="Rectangle 15"/>
          <p:cNvSpPr>
            <a:spLocks noChangeArrowheads="1"/>
          </p:cNvSpPr>
          <p:nvPr/>
        </p:nvSpPr>
        <p:spPr bwMode="auto">
          <a:xfrm>
            <a:off x="4304873" y="4389702"/>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69" name="Rectangle 16"/>
          <p:cNvSpPr>
            <a:spLocks noChangeArrowheads="1"/>
          </p:cNvSpPr>
          <p:nvPr/>
        </p:nvSpPr>
        <p:spPr bwMode="auto">
          <a:xfrm>
            <a:off x="4304873" y="4321961"/>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70" name="Rectangle 17"/>
          <p:cNvSpPr>
            <a:spLocks noChangeArrowheads="1"/>
          </p:cNvSpPr>
          <p:nvPr/>
        </p:nvSpPr>
        <p:spPr bwMode="auto">
          <a:xfrm>
            <a:off x="4304873" y="4254218"/>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71" name="Rectangle 18"/>
          <p:cNvSpPr>
            <a:spLocks noChangeArrowheads="1"/>
          </p:cNvSpPr>
          <p:nvPr/>
        </p:nvSpPr>
        <p:spPr bwMode="auto">
          <a:xfrm>
            <a:off x="4304873" y="4186475"/>
            <a:ext cx="194073" cy="54927"/>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56" name="Rectangle 19"/>
          <p:cNvSpPr>
            <a:spLocks noChangeArrowheads="1"/>
          </p:cNvSpPr>
          <p:nvPr/>
        </p:nvSpPr>
        <p:spPr bwMode="auto">
          <a:xfrm>
            <a:off x="2583647" y="3646571"/>
            <a:ext cx="194073" cy="53095"/>
          </a:xfrm>
          <a:prstGeom prst="rect">
            <a:avLst/>
          </a:prstGeom>
          <a:solidFill>
            <a:srgbClr val="004D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57" name="Freeform 20"/>
          <p:cNvSpPr>
            <a:spLocks noEditPoints="1"/>
          </p:cNvSpPr>
          <p:nvPr/>
        </p:nvSpPr>
        <p:spPr bwMode="auto">
          <a:xfrm flipH="1">
            <a:off x="2581835" y="3188777"/>
            <a:ext cx="1366412" cy="855019"/>
          </a:xfrm>
          <a:custGeom>
            <a:avLst/>
            <a:gdLst>
              <a:gd name="T0" fmla="*/ 10000 w 10000"/>
              <a:gd name="T1" fmla="*/ 1957 h 5604"/>
              <a:gd name="T2" fmla="*/ 10000 w 10000"/>
              <a:gd name="T3" fmla="*/ 1795 h 5604"/>
              <a:gd name="T4" fmla="*/ 9334 w 10000"/>
              <a:gd name="T5" fmla="*/ 1795 h 5604"/>
              <a:gd name="T6" fmla="*/ 4588 w 10000"/>
              <a:gd name="T7" fmla="*/ 38 h 5604"/>
              <a:gd name="T8" fmla="*/ 4587 w 10000"/>
              <a:gd name="T9" fmla="*/ 0 h 5604"/>
              <a:gd name="T10" fmla="*/ 4485 w 10000"/>
              <a:gd name="T11" fmla="*/ 0 h 5604"/>
              <a:gd name="T12" fmla="*/ 4485 w 10000"/>
              <a:gd name="T13" fmla="*/ 37 h 5604"/>
              <a:gd name="T14" fmla="*/ 4460 w 10000"/>
              <a:gd name="T15" fmla="*/ 55 h 5604"/>
              <a:gd name="T16" fmla="*/ 308 w 10000"/>
              <a:gd name="T17" fmla="*/ 1795 h 5604"/>
              <a:gd name="T18" fmla="*/ 0 w 10000"/>
              <a:gd name="T19" fmla="*/ 1795 h 5604"/>
              <a:gd name="T20" fmla="*/ 0 w 10000"/>
              <a:gd name="T21" fmla="*/ 1957 h 5604"/>
              <a:gd name="T22" fmla="*/ 1818 w 10000"/>
              <a:gd name="T23" fmla="*/ 2058 h 5604"/>
              <a:gd name="T24" fmla="*/ 1830 w 10000"/>
              <a:gd name="T25" fmla="*/ 2059 h 5604"/>
              <a:gd name="T26" fmla="*/ 1830 w 10000"/>
              <a:gd name="T27" fmla="*/ 5461 h 5604"/>
              <a:gd name="T28" fmla="*/ 1777 w 10000"/>
              <a:gd name="T29" fmla="*/ 5461 h 5604"/>
              <a:gd name="T30" fmla="*/ 1777 w 10000"/>
              <a:gd name="T31" fmla="*/ 5604 h 5604"/>
              <a:gd name="T32" fmla="*/ 2036 w 10000"/>
              <a:gd name="T33" fmla="*/ 5604 h 5604"/>
              <a:gd name="T34" fmla="*/ 2036 w 10000"/>
              <a:gd name="T35" fmla="*/ 5461 h 5604"/>
              <a:gd name="T36" fmla="*/ 1992 w 10000"/>
              <a:gd name="T37" fmla="*/ 5461 h 5604"/>
              <a:gd name="T38" fmla="*/ 1992 w 10000"/>
              <a:gd name="T39" fmla="*/ 4262 h 5604"/>
              <a:gd name="T40" fmla="*/ 4455 w 10000"/>
              <a:gd name="T41" fmla="*/ 4262 h 5604"/>
              <a:gd name="T42" fmla="*/ 4455 w 10000"/>
              <a:gd name="T43" fmla="*/ 5461 h 5604"/>
              <a:gd name="T44" fmla="*/ 4407 w 10000"/>
              <a:gd name="T45" fmla="*/ 5461 h 5604"/>
              <a:gd name="T46" fmla="*/ 4407 w 10000"/>
              <a:gd name="T47" fmla="*/ 5604 h 5604"/>
              <a:gd name="T48" fmla="*/ 4667 w 10000"/>
              <a:gd name="T49" fmla="*/ 5604 h 5604"/>
              <a:gd name="T50" fmla="*/ 4667 w 10000"/>
              <a:gd name="T51" fmla="*/ 5461 h 5604"/>
              <a:gd name="T52" fmla="*/ 4618 w 10000"/>
              <a:gd name="T53" fmla="*/ 5461 h 5604"/>
              <a:gd name="T54" fmla="*/ 4618 w 10000"/>
              <a:gd name="T55" fmla="*/ 2059 h 5604"/>
              <a:gd name="T56" fmla="*/ 10000 w 10000"/>
              <a:gd name="T57" fmla="*/ 1957 h 5604"/>
              <a:gd name="T58" fmla="*/ 4359 w 10000"/>
              <a:gd name="T59" fmla="*/ 124 h 5604"/>
              <a:gd name="T60" fmla="*/ 2993 w 10000"/>
              <a:gd name="T61" fmla="*/ 1066 h 5604"/>
              <a:gd name="T62" fmla="*/ 2114 w 10000"/>
              <a:gd name="T63" fmla="*/ 1066 h 5604"/>
              <a:gd name="T64" fmla="*/ 4359 w 10000"/>
              <a:gd name="T65" fmla="*/ 124 h 5604"/>
              <a:gd name="T66" fmla="*/ 1830 w 10000"/>
              <a:gd name="T67" fmla="*/ 1541 h 5604"/>
              <a:gd name="T68" fmla="*/ 1830 w 10000"/>
              <a:gd name="T69" fmla="*/ 1795 h 5604"/>
              <a:gd name="T70" fmla="*/ 372 w 10000"/>
              <a:gd name="T71" fmla="*/ 1795 h 5604"/>
              <a:gd name="T72" fmla="*/ 2032 w 10000"/>
              <a:gd name="T73" fmla="*/ 1100 h 5604"/>
              <a:gd name="T74" fmla="*/ 2032 w 10000"/>
              <a:gd name="T75" fmla="*/ 1727 h 5604"/>
              <a:gd name="T76" fmla="*/ 1992 w 10000"/>
              <a:gd name="T77" fmla="*/ 1755 h 5604"/>
              <a:gd name="T78" fmla="*/ 1992 w 10000"/>
              <a:gd name="T79" fmla="*/ 1541 h 5604"/>
              <a:gd name="T80" fmla="*/ 1830 w 10000"/>
              <a:gd name="T81" fmla="*/ 1541 h 5604"/>
              <a:gd name="T82" fmla="*/ 1992 w 10000"/>
              <a:gd name="T83" fmla="*/ 4175 h 5604"/>
              <a:gd name="T84" fmla="*/ 1992 w 10000"/>
              <a:gd name="T85" fmla="*/ 2110 h 5604"/>
              <a:gd name="T86" fmla="*/ 4419 w 10000"/>
              <a:gd name="T87" fmla="*/ 4175 h 5604"/>
              <a:gd name="T88" fmla="*/ 1992 w 10000"/>
              <a:gd name="T89" fmla="*/ 4175 h 5604"/>
              <a:gd name="T90" fmla="*/ 4455 w 10000"/>
              <a:gd name="T91" fmla="*/ 4093 h 5604"/>
              <a:gd name="T92" fmla="*/ 2064 w 10000"/>
              <a:gd name="T93" fmla="*/ 2059 h 5604"/>
              <a:gd name="T94" fmla="*/ 4455 w 10000"/>
              <a:gd name="T95" fmla="*/ 2059 h 5604"/>
              <a:gd name="T96" fmla="*/ 4455 w 10000"/>
              <a:gd name="T97" fmla="*/ 4093 h 5604"/>
              <a:gd name="T98" fmla="*/ 4455 w 10000"/>
              <a:gd name="T99" fmla="*/ 1795 h 5604"/>
              <a:gd name="T100" fmla="*/ 4323 w 10000"/>
              <a:gd name="T101" fmla="*/ 1795 h 5604"/>
              <a:gd name="T102" fmla="*/ 4323 w 10000"/>
              <a:gd name="T103" fmla="*/ 1066 h 5604"/>
              <a:gd name="T104" fmla="*/ 3145 w 10000"/>
              <a:gd name="T105" fmla="*/ 1066 h 5604"/>
              <a:gd name="T106" fmla="*/ 4483 w 10000"/>
              <a:gd name="T107" fmla="*/ 143 h 5604"/>
              <a:gd name="T108" fmla="*/ 4455 w 10000"/>
              <a:gd name="T109" fmla="*/ 1795 h 5604"/>
              <a:gd name="T110" fmla="*/ 9086 w 10000"/>
              <a:gd name="T111" fmla="*/ 1795 h 5604"/>
              <a:gd name="T112" fmla="*/ 6260 w 10000"/>
              <a:gd name="T113" fmla="*/ 1795 h 5604"/>
              <a:gd name="T114" fmla="*/ 4630 w 10000"/>
              <a:gd name="T115" fmla="*/ 146 h 5604"/>
              <a:gd name="T116" fmla="*/ 9086 w 10000"/>
              <a:gd name="T117" fmla="*/ 1795 h 5604"/>
              <a:gd name="T118" fmla="*/ 4618 w 10000"/>
              <a:gd name="T119" fmla="*/ 1795 h 5604"/>
              <a:gd name="T120" fmla="*/ 4590 w 10000"/>
              <a:gd name="T121" fmla="*/ 146 h 5604"/>
              <a:gd name="T122" fmla="*/ 6220 w 10000"/>
              <a:gd name="T123" fmla="*/ 1795 h 5604"/>
              <a:gd name="T124" fmla="*/ 4618 w 10000"/>
              <a:gd name="T125" fmla="*/ 1795 h 5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00" h="5604">
                <a:moveTo>
                  <a:pt x="10000" y="1957"/>
                </a:moveTo>
                <a:lnTo>
                  <a:pt x="10000" y="1795"/>
                </a:lnTo>
                <a:lnTo>
                  <a:pt x="9334" y="1795"/>
                </a:lnTo>
                <a:lnTo>
                  <a:pt x="4588" y="38"/>
                </a:lnTo>
                <a:lnTo>
                  <a:pt x="4587" y="0"/>
                </a:lnTo>
                <a:lnTo>
                  <a:pt x="4485" y="0"/>
                </a:lnTo>
                <a:lnTo>
                  <a:pt x="4485" y="37"/>
                </a:lnTo>
                <a:lnTo>
                  <a:pt x="4460" y="55"/>
                </a:lnTo>
                <a:lnTo>
                  <a:pt x="308" y="1795"/>
                </a:lnTo>
                <a:lnTo>
                  <a:pt x="0" y="1795"/>
                </a:lnTo>
                <a:lnTo>
                  <a:pt x="0" y="1957"/>
                </a:lnTo>
                <a:lnTo>
                  <a:pt x="1818" y="2058"/>
                </a:lnTo>
                <a:lnTo>
                  <a:pt x="1830" y="2059"/>
                </a:lnTo>
                <a:lnTo>
                  <a:pt x="1830" y="5461"/>
                </a:lnTo>
                <a:lnTo>
                  <a:pt x="1777" y="5461"/>
                </a:lnTo>
                <a:lnTo>
                  <a:pt x="1777" y="5604"/>
                </a:lnTo>
                <a:lnTo>
                  <a:pt x="2036" y="5604"/>
                </a:lnTo>
                <a:lnTo>
                  <a:pt x="2036" y="5461"/>
                </a:lnTo>
                <a:lnTo>
                  <a:pt x="1992" y="5461"/>
                </a:lnTo>
                <a:lnTo>
                  <a:pt x="1992" y="4262"/>
                </a:lnTo>
                <a:lnTo>
                  <a:pt x="4455" y="4262"/>
                </a:lnTo>
                <a:lnTo>
                  <a:pt x="4455" y="5461"/>
                </a:lnTo>
                <a:lnTo>
                  <a:pt x="4407" y="5461"/>
                </a:lnTo>
                <a:lnTo>
                  <a:pt x="4407" y="5604"/>
                </a:lnTo>
                <a:lnTo>
                  <a:pt x="4667" y="5604"/>
                </a:lnTo>
                <a:lnTo>
                  <a:pt x="4667" y="5461"/>
                </a:lnTo>
                <a:lnTo>
                  <a:pt x="4618" y="5461"/>
                </a:lnTo>
                <a:lnTo>
                  <a:pt x="4618" y="2059"/>
                </a:lnTo>
                <a:lnTo>
                  <a:pt x="10000" y="1957"/>
                </a:lnTo>
                <a:close/>
                <a:moveTo>
                  <a:pt x="4359" y="124"/>
                </a:moveTo>
                <a:lnTo>
                  <a:pt x="2993" y="1066"/>
                </a:lnTo>
                <a:lnTo>
                  <a:pt x="2114" y="1066"/>
                </a:lnTo>
                <a:lnTo>
                  <a:pt x="4359" y="124"/>
                </a:lnTo>
                <a:close/>
                <a:moveTo>
                  <a:pt x="1830" y="1541"/>
                </a:moveTo>
                <a:lnTo>
                  <a:pt x="1830" y="1795"/>
                </a:lnTo>
                <a:lnTo>
                  <a:pt x="372" y="1795"/>
                </a:lnTo>
                <a:lnTo>
                  <a:pt x="2032" y="1100"/>
                </a:lnTo>
                <a:lnTo>
                  <a:pt x="2032" y="1727"/>
                </a:lnTo>
                <a:lnTo>
                  <a:pt x="1992" y="1755"/>
                </a:lnTo>
                <a:lnTo>
                  <a:pt x="1992" y="1541"/>
                </a:lnTo>
                <a:lnTo>
                  <a:pt x="1830" y="1541"/>
                </a:lnTo>
                <a:close/>
                <a:moveTo>
                  <a:pt x="1992" y="4175"/>
                </a:moveTo>
                <a:lnTo>
                  <a:pt x="1992" y="2110"/>
                </a:lnTo>
                <a:lnTo>
                  <a:pt x="4419" y="4175"/>
                </a:lnTo>
                <a:lnTo>
                  <a:pt x="1992" y="4175"/>
                </a:lnTo>
                <a:close/>
                <a:moveTo>
                  <a:pt x="4455" y="4093"/>
                </a:moveTo>
                <a:lnTo>
                  <a:pt x="2064" y="2059"/>
                </a:lnTo>
                <a:lnTo>
                  <a:pt x="4455" y="2059"/>
                </a:lnTo>
                <a:lnTo>
                  <a:pt x="4455" y="4093"/>
                </a:lnTo>
                <a:close/>
                <a:moveTo>
                  <a:pt x="4455" y="1795"/>
                </a:moveTo>
                <a:lnTo>
                  <a:pt x="4323" y="1795"/>
                </a:lnTo>
                <a:lnTo>
                  <a:pt x="4323" y="1066"/>
                </a:lnTo>
                <a:lnTo>
                  <a:pt x="3145" y="1066"/>
                </a:lnTo>
                <a:lnTo>
                  <a:pt x="4483" y="143"/>
                </a:lnTo>
                <a:lnTo>
                  <a:pt x="4455" y="1795"/>
                </a:lnTo>
                <a:close/>
                <a:moveTo>
                  <a:pt x="9086" y="1795"/>
                </a:moveTo>
                <a:lnTo>
                  <a:pt x="6260" y="1795"/>
                </a:lnTo>
                <a:lnTo>
                  <a:pt x="4630" y="146"/>
                </a:lnTo>
                <a:lnTo>
                  <a:pt x="9086" y="1795"/>
                </a:lnTo>
                <a:close/>
                <a:moveTo>
                  <a:pt x="4618" y="1795"/>
                </a:moveTo>
                <a:lnTo>
                  <a:pt x="4590" y="146"/>
                </a:lnTo>
                <a:lnTo>
                  <a:pt x="6220" y="1795"/>
                </a:lnTo>
                <a:lnTo>
                  <a:pt x="4618" y="1795"/>
                </a:lnTo>
                <a:close/>
              </a:path>
            </a:pathLst>
          </a:custGeom>
          <a:solidFill>
            <a:srgbClr val="004D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52" name="AutoShape 119"/>
          <p:cNvSpPr>
            <a:spLocks noChangeAspect="1" noChangeArrowheads="1" noTextEdit="1"/>
          </p:cNvSpPr>
          <p:nvPr/>
        </p:nvSpPr>
        <p:spPr bwMode="auto">
          <a:xfrm>
            <a:off x="3315477" y="4819469"/>
            <a:ext cx="1201991" cy="50083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53" name="Freeform 122"/>
          <p:cNvSpPr>
            <a:spLocks noEditPoints="1"/>
          </p:cNvSpPr>
          <p:nvPr/>
        </p:nvSpPr>
        <p:spPr bwMode="auto">
          <a:xfrm>
            <a:off x="3315477" y="4921224"/>
            <a:ext cx="1151113" cy="399075"/>
          </a:xfrm>
          <a:custGeom>
            <a:avLst/>
            <a:gdLst/>
            <a:ahLst/>
            <a:cxnLst>
              <a:cxn ang="0">
                <a:pos x="1298" y="334"/>
              </a:cxn>
              <a:cxn ang="0">
                <a:pos x="1257" y="319"/>
              </a:cxn>
              <a:cxn ang="0">
                <a:pos x="1221" y="323"/>
              </a:cxn>
              <a:cxn ang="0">
                <a:pos x="1185" y="344"/>
              </a:cxn>
              <a:cxn ang="0">
                <a:pos x="1024" y="329"/>
              </a:cxn>
              <a:cxn ang="0">
                <a:pos x="981" y="319"/>
              </a:cxn>
              <a:cxn ang="0">
                <a:pos x="946" y="325"/>
              </a:cxn>
              <a:cxn ang="0">
                <a:pos x="355" y="344"/>
              </a:cxn>
              <a:cxn ang="0">
                <a:pos x="350" y="6"/>
              </a:cxn>
              <a:cxn ang="0">
                <a:pos x="66" y="0"/>
              </a:cxn>
              <a:cxn ang="0">
                <a:pos x="43" y="15"/>
              </a:cxn>
              <a:cxn ang="0">
                <a:pos x="0" y="249"/>
              </a:cxn>
              <a:cxn ang="0">
                <a:pos x="110" y="410"/>
              </a:cxn>
              <a:cxn ang="0">
                <a:pos x="121" y="454"/>
              </a:cxn>
              <a:cxn ang="0">
                <a:pos x="150" y="486"/>
              </a:cxn>
              <a:cxn ang="0">
                <a:pos x="192" y="501"/>
              </a:cxn>
              <a:cxn ang="0">
                <a:pos x="229" y="497"/>
              </a:cxn>
              <a:cxn ang="0">
                <a:pos x="267" y="474"/>
              </a:cxn>
              <a:cxn ang="0">
                <a:pos x="290" y="438"/>
              </a:cxn>
              <a:cxn ang="0">
                <a:pos x="293" y="404"/>
              </a:cxn>
              <a:cxn ang="0">
                <a:pos x="890" y="420"/>
              </a:cxn>
              <a:cxn ang="0">
                <a:pos x="905" y="462"/>
              </a:cxn>
              <a:cxn ang="0">
                <a:pos x="937" y="491"/>
              </a:cxn>
              <a:cxn ang="0">
                <a:pos x="981" y="502"/>
              </a:cxn>
              <a:cxn ang="0">
                <a:pos x="1016" y="494"/>
              </a:cxn>
              <a:cxn ang="0">
                <a:pos x="1052" y="468"/>
              </a:cxn>
              <a:cxn ang="0">
                <a:pos x="1071" y="429"/>
              </a:cxn>
              <a:cxn ang="0">
                <a:pos x="1157" y="404"/>
              </a:cxn>
              <a:cxn ang="0">
                <a:pos x="1158" y="429"/>
              </a:cxn>
              <a:cxn ang="0">
                <a:pos x="1177" y="468"/>
              </a:cxn>
              <a:cxn ang="0">
                <a:pos x="1212" y="494"/>
              </a:cxn>
              <a:cxn ang="0">
                <a:pos x="1248" y="502"/>
              </a:cxn>
              <a:cxn ang="0">
                <a:pos x="1291" y="491"/>
              </a:cxn>
              <a:cxn ang="0">
                <a:pos x="1324" y="462"/>
              </a:cxn>
              <a:cxn ang="0">
                <a:pos x="1339" y="420"/>
              </a:cxn>
              <a:cxn ang="0">
                <a:pos x="1449" y="344"/>
              </a:cxn>
              <a:cxn ang="0">
                <a:pos x="180" y="443"/>
              </a:cxn>
              <a:cxn ang="0">
                <a:pos x="162" y="410"/>
              </a:cxn>
              <a:cxn ang="0">
                <a:pos x="173" y="382"/>
              </a:cxn>
              <a:cxn ang="0">
                <a:pos x="202" y="371"/>
              </a:cxn>
              <a:cxn ang="0">
                <a:pos x="235" y="388"/>
              </a:cxn>
              <a:cxn ang="0">
                <a:pos x="241" y="419"/>
              </a:cxn>
              <a:cxn ang="0">
                <a:pos x="217" y="446"/>
              </a:cxn>
              <a:cxn ang="0">
                <a:pos x="72" y="189"/>
              </a:cxn>
              <a:cxn ang="0">
                <a:pos x="981" y="450"/>
              </a:cxn>
              <a:cxn ang="0">
                <a:pos x="948" y="433"/>
              </a:cxn>
              <a:cxn ang="0">
                <a:pos x="942" y="402"/>
              </a:cxn>
              <a:cxn ang="0">
                <a:pos x="965" y="373"/>
              </a:cxn>
              <a:cxn ang="0">
                <a:pos x="996" y="373"/>
              </a:cxn>
              <a:cxn ang="0">
                <a:pos x="1020" y="402"/>
              </a:cxn>
              <a:cxn ang="0">
                <a:pos x="1014" y="433"/>
              </a:cxn>
              <a:cxn ang="0">
                <a:pos x="981" y="450"/>
              </a:cxn>
              <a:cxn ang="0">
                <a:pos x="1233" y="446"/>
              </a:cxn>
              <a:cxn ang="0">
                <a:pos x="1209" y="419"/>
              </a:cxn>
              <a:cxn ang="0">
                <a:pos x="1215" y="388"/>
              </a:cxn>
              <a:cxn ang="0">
                <a:pos x="1248" y="371"/>
              </a:cxn>
              <a:cxn ang="0">
                <a:pos x="1276" y="382"/>
              </a:cxn>
              <a:cxn ang="0">
                <a:pos x="1288" y="410"/>
              </a:cxn>
              <a:cxn ang="0">
                <a:pos x="1271" y="443"/>
              </a:cxn>
            </a:cxnLst>
            <a:rect l="0" t="0" r="r" b="b"/>
            <a:pathLst>
              <a:path w="1449" h="502">
                <a:moveTo>
                  <a:pt x="1449" y="344"/>
                </a:moveTo>
                <a:lnTo>
                  <a:pt x="1311" y="344"/>
                </a:lnTo>
                <a:lnTo>
                  <a:pt x="1311" y="344"/>
                </a:lnTo>
                <a:lnTo>
                  <a:pt x="1305" y="339"/>
                </a:lnTo>
                <a:lnTo>
                  <a:pt x="1298" y="334"/>
                </a:lnTo>
                <a:lnTo>
                  <a:pt x="1291" y="329"/>
                </a:lnTo>
                <a:lnTo>
                  <a:pt x="1282" y="325"/>
                </a:lnTo>
                <a:lnTo>
                  <a:pt x="1274" y="323"/>
                </a:lnTo>
                <a:lnTo>
                  <a:pt x="1265" y="320"/>
                </a:lnTo>
                <a:lnTo>
                  <a:pt x="1257" y="319"/>
                </a:lnTo>
                <a:lnTo>
                  <a:pt x="1248" y="319"/>
                </a:lnTo>
                <a:lnTo>
                  <a:pt x="1248" y="319"/>
                </a:lnTo>
                <a:lnTo>
                  <a:pt x="1239" y="319"/>
                </a:lnTo>
                <a:lnTo>
                  <a:pt x="1230" y="320"/>
                </a:lnTo>
                <a:lnTo>
                  <a:pt x="1221" y="323"/>
                </a:lnTo>
                <a:lnTo>
                  <a:pt x="1212" y="325"/>
                </a:lnTo>
                <a:lnTo>
                  <a:pt x="1205" y="329"/>
                </a:lnTo>
                <a:lnTo>
                  <a:pt x="1197" y="334"/>
                </a:lnTo>
                <a:lnTo>
                  <a:pt x="1191" y="339"/>
                </a:lnTo>
                <a:lnTo>
                  <a:pt x="1185" y="344"/>
                </a:lnTo>
                <a:lnTo>
                  <a:pt x="1044" y="344"/>
                </a:lnTo>
                <a:lnTo>
                  <a:pt x="1044" y="344"/>
                </a:lnTo>
                <a:lnTo>
                  <a:pt x="1038" y="339"/>
                </a:lnTo>
                <a:lnTo>
                  <a:pt x="1030" y="334"/>
                </a:lnTo>
                <a:lnTo>
                  <a:pt x="1024" y="329"/>
                </a:lnTo>
                <a:lnTo>
                  <a:pt x="1015" y="325"/>
                </a:lnTo>
                <a:lnTo>
                  <a:pt x="1008" y="323"/>
                </a:lnTo>
                <a:lnTo>
                  <a:pt x="999" y="320"/>
                </a:lnTo>
                <a:lnTo>
                  <a:pt x="990" y="319"/>
                </a:lnTo>
                <a:lnTo>
                  <a:pt x="981" y="319"/>
                </a:lnTo>
                <a:lnTo>
                  <a:pt x="981" y="319"/>
                </a:lnTo>
                <a:lnTo>
                  <a:pt x="972" y="319"/>
                </a:lnTo>
                <a:lnTo>
                  <a:pt x="963" y="320"/>
                </a:lnTo>
                <a:lnTo>
                  <a:pt x="954" y="323"/>
                </a:lnTo>
                <a:lnTo>
                  <a:pt x="946" y="325"/>
                </a:lnTo>
                <a:lnTo>
                  <a:pt x="938" y="329"/>
                </a:lnTo>
                <a:lnTo>
                  <a:pt x="930" y="334"/>
                </a:lnTo>
                <a:lnTo>
                  <a:pt x="924" y="339"/>
                </a:lnTo>
                <a:lnTo>
                  <a:pt x="918" y="344"/>
                </a:lnTo>
                <a:lnTo>
                  <a:pt x="355" y="344"/>
                </a:lnTo>
                <a:lnTo>
                  <a:pt x="355" y="20"/>
                </a:lnTo>
                <a:lnTo>
                  <a:pt x="355" y="20"/>
                </a:lnTo>
                <a:lnTo>
                  <a:pt x="355" y="15"/>
                </a:lnTo>
                <a:lnTo>
                  <a:pt x="354" y="11"/>
                </a:lnTo>
                <a:lnTo>
                  <a:pt x="350" y="6"/>
                </a:lnTo>
                <a:lnTo>
                  <a:pt x="344" y="1"/>
                </a:lnTo>
                <a:lnTo>
                  <a:pt x="340" y="0"/>
                </a:lnTo>
                <a:lnTo>
                  <a:pt x="336" y="0"/>
                </a:lnTo>
                <a:lnTo>
                  <a:pt x="66" y="0"/>
                </a:lnTo>
                <a:lnTo>
                  <a:pt x="66" y="0"/>
                </a:lnTo>
                <a:lnTo>
                  <a:pt x="62" y="0"/>
                </a:lnTo>
                <a:lnTo>
                  <a:pt x="58" y="1"/>
                </a:lnTo>
                <a:lnTo>
                  <a:pt x="51" y="5"/>
                </a:lnTo>
                <a:lnTo>
                  <a:pt x="46" y="11"/>
                </a:lnTo>
                <a:lnTo>
                  <a:pt x="43" y="15"/>
                </a:lnTo>
                <a:lnTo>
                  <a:pt x="42" y="18"/>
                </a:lnTo>
                <a:lnTo>
                  <a:pt x="4" y="210"/>
                </a:lnTo>
                <a:lnTo>
                  <a:pt x="4" y="210"/>
                </a:lnTo>
                <a:lnTo>
                  <a:pt x="1" y="229"/>
                </a:lnTo>
                <a:lnTo>
                  <a:pt x="0" y="249"/>
                </a:lnTo>
                <a:lnTo>
                  <a:pt x="0" y="404"/>
                </a:lnTo>
                <a:lnTo>
                  <a:pt x="111" y="404"/>
                </a:lnTo>
                <a:lnTo>
                  <a:pt x="111" y="404"/>
                </a:lnTo>
                <a:lnTo>
                  <a:pt x="110" y="410"/>
                </a:lnTo>
                <a:lnTo>
                  <a:pt x="110" y="410"/>
                </a:lnTo>
                <a:lnTo>
                  <a:pt x="111" y="420"/>
                </a:lnTo>
                <a:lnTo>
                  <a:pt x="113" y="429"/>
                </a:lnTo>
                <a:lnTo>
                  <a:pt x="115" y="438"/>
                </a:lnTo>
                <a:lnTo>
                  <a:pt x="118" y="445"/>
                </a:lnTo>
                <a:lnTo>
                  <a:pt x="121" y="454"/>
                </a:lnTo>
                <a:lnTo>
                  <a:pt x="126" y="462"/>
                </a:lnTo>
                <a:lnTo>
                  <a:pt x="131" y="468"/>
                </a:lnTo>
                <a:lnTo>
                  <a:pt x="138" y="474"/>
                </a:lnTo>
                <a:lnTo>
                  <a:pt x="144" y="481"/>
                </a:lnTo>
                <a:lnTo>
                  <a:pt x="150" y="486"/>
                </a:lnTo>
                <a:lnTo>
                  <a:pt x="158" y="491"/>
                </a:lnTo>
                <a:lnTo>
                  <a:pt x="166" y="494"/>
                </a:lnTo>
                <a:lnTo>
                  <a:pt x="174" y="497"/>
                </a:lnTo>
                <a:lnTo>
                  <a:pt x="183" y="499"/>
                </a:lnTo>
                <a:lnTo>
                  <a:pt x="192" y="501"/>
                </a:lnTo>
                <a:lnTo>
                  <a:pt x="202" y="502"/>
                </a:lnTo>
                <a:lnTo>
                  <a:pt x="202" y="502"/>
                </a:lnTo>
                <a:lnTo>
                  <a:pt x="211" y="501"/>
                </a:lnTo>
                <a:lnTo>
                  <a:pt x="220" y="499"/>
                </a:lnTo>
                <a:lnTo>
                  <a:pt x="229" y="497"/>
                </a:lnTo>
                <a:lnTo>
                  <a:pt x="238" y="494"/>
                </a:lnTo>
                <a:lnTo>
                  <a:pt x="245" y="491"/>
                </a:lnTo>
                <a:lnTo>
                  <a:pt x="253" y="486"/>
                </a:lnTo>
                <a:lnTo>
                  <a:pt x="260" y="481"/>
                </a:lnTo>
                <a:lnTo>
                  <a:pt x="267" y="474"/>
                </a:lnTo>
                <a:lnTo>
                  <a:pt x="272" y="468"/>
                </a:lnTo>
                <a:lnTo>
                  <a:pt x="278" y="462"/>
                </a:lnTo>
                <a:lnTo>
                  <a:pt x="282" y="454"/>
                </a:lnTo>
                <a:lnTo>
                  <a:pt x="286" y="445"/>
                </a:lnTo>
                <a:lnTo>
                  <a:pt x="290" y="438"/>
                </a:lnTo>
                <a:lnTo>
                  <a:pt x="292" y="429"/>
                </a:lnTo>
                <a:lnTo>
                  <a:pt x="293" y="420"/>
                </a:lnTo>
                <a:lnTo>
                  <a:pt x="293" y="410"/>
                </a:lnTo>
                <a:lnTo>
                  <a:pt x="293" y="410"/>
                </a:lnTo>
                <a:lnTo>
                  <a:pt x="293" y="404"/>
                </a:lnTo>
                <a:lnTo>
                  <a:pt x="890" y="404"/>
                </a:lnTo>
                <a:lnTo>
                  <a:pt x="890" y="404"/>
                </a:lnTo>
                <a:lnTo>
                  <a:pt x="890" y="410"/>
                </a:lnTo>
                <a:lnTo>
                  <a:pt x="890" y="410"/>
                </a:lnTo>
                <a:lnTo>
                  <a:pt x="890" y="420"/>
                </a:lnTo>
                <a:lnTo>
                  <a:pt x="891" y="429"/>
                </a:lnTo>
                <a:lnTo>
                  <a:pt x="894" y="438"/>
                </a:lnTo>
                <a:lnTo>
                  <a:pt x="896" y="445"/>
                </a:lnTo>
                <a:lnTo>
                  <a:pt x="900" y="454"/>
                </a:lnTo>
                <a:lnTo>
                  <a:pt x="905" y="462"/>
                </a:lnTo>
                <a:lnTo>
                  <a:pt x="910" y="468"/>
                </a:lnTo>
                <a:lnTo>
                  <a:pt x="917" y="474"/>
                </a:lnTo>
                <a:lnTo>
                  <a:pt x="923" y="481"/>
                </a:lnTo>
                <a:lnTo>
                  <a:pt x="929" y="486"/>
                </a:lnTo>
                <a:lnTo>
                  <a:pt x="937" y="491"/>
                </a:lnTo>
                <a:lnTo>
                  <a:pt x="946" y="494"/>
                </a:lnTo>
                <a:lnTo>
                  <a:pt x="953" y="497"/>
                </a:lnTo>
                <a:lnTo>
                  <a:pt x="962" y="499"/>
                </a:lnTo>
                <a:lnTo>
                  <a:pt x="971" y="501"/>
                </a:lnTo>
                <a:lnTo>
                  <a:pt x="981" y="502"/>
                </a:lnTo>
                <a:lnTo>
                  <a:pt x="981" y="502"/>
                </a:lnTo>
                <a:lnTo>
                  <a:pt x="990" y="501"/>
                </a:lnTo>
                <a:lnTo>
                  <a:pt x="999" y="499"/>
                </a:lnTo>
                <a:lnTo>
                  <a:pt x="1008" y="497"/>
                </a:lnTo>
                <a:lnTo>
                  <a:pt x="1016" y="494"/>
                </a:lnTo>
                <a:lnTo>
                  <a:pt x="1024" y="491"/>
                </a:lnTo>
                <a:lnTo>
                  <a:pt x="1032" y="486"/>
                </a:lnTo>
                <a:lnTo>
                  <a:pt x="1039" y="481"/>
                </a:lnTo>
                <a:lnTo>
                  <a:pt x="1046" y="474"/>
                </a:lnTo>
                <a:lnTo>
                  <a:pt x="1052" y="468"/>
                </a:lnTo>
                <a:lnTo>
                  <a:pt x="1057" y="462"/>
                </a:lnTo>
                <a:lnTo>
                  <a:pt x="1061" y="454"/>
                </a:lnTo>
                <a:lnTo>
                  <a:pt x="1064" y="445"/>
                </a:lnTo>
                <a:lnTo>
                  <a:pt x="1068" y="438"/>
                </a:lnTo>
                <a:lnTo>
                  <a:pt x="1071" y="429"/>
                </a:lnTo>
                <a:lnTo>
                  <a:pt x="1072" y="420"/>
                </a:lnTo>
                <a:lnTo>
                  <a:pt x="1072" y="410"/>
                </a:lnTo>
                <a:lnTo>
                  <a:pt x="1072" y="410"/>
                </a:lnTo>
                <a:lnTo>
                  <a:pt x="1072" y="404"/>
                </a:lnTo>
                <a:lnTo>
                  <a:pt x="1157" y="404"/>
                </a:lnTo>
                <a:lnTo>
                  <a:pt x="1157" y="404"/>
                </a:lnTo>
                <a:lnTo>
                  <a:pt x="1157" y="410"/>
                </a:lnTo>
                <a:lnTo>
                  <a:pt x="1157" y="410"/>
                </a:lnTo>
                <a:lnTo>
                  <a:pt x="1157" y="420"/>
                </a:lnTo>
                <a:lnTo>
                  <a:pt x="1158" y="429"/>
                </a:lnTo>
                <a:lnTo>
                  <a:pt x="1161" y="438"/>
                </a:lnTo>
                <a:lnTo>
                  <a:pt x="1163" y="445"/>
                </a:lnTo>
                <a:lnTo>
                  <a:pt x="1167" y="454"/>
                </a:lnTo>
                <a:lnTo>
                  <a:pt x="1172" y="462"/>
                </a:lnTo>
                <a:lnTo>
                  <a:pt x="1177" y="468"/>
                </a:lnTo>
                <a:lnTo>
                  <a:pt x="1183" y="474"/>
                </a:lnTo>
                <a:lnTo>
                  <a:pt x="1190" y="481"/>
                </a:lnTo>
                <a:lnTo>
                  <a:pt x="1196" y="486"/>
                </a:lnTo>
                <a:lnTo>
                  <a:pt x="1204" y="491"/>
                </a:lnTo>
                <a:lnTo>
                  <a:pt x="1212" y="494"/>
                </a:lnTo>
                <a:lnTo>
                  <a:pt x="1220" y="497"/>
                </a:lnTo>
                <a:lnTo>
                  <a:pt x="1229" y="499"/>
                </a:lnTo>
                <a:lnTo>
                  <a:pt x="1238" y="501"/>
                </a:lnTo>
                <a:lnTo>
                  <a:pt x="1248" y="502"/>
                </a:lnTo>
                <a:lnTo>
                  <a:pt x="1248" y="502"/>
                </a:lnTo>
                <a:lnTo>
                  <a:pt x="1257" y="501"/>
                </a:lnTo>
                <a:lnTo>
                  <a:pt x="1265" y="499"/>
                </a:lnTo>
                <a:lnTo>
                  <a:pt x="1274" y="497"/>
                </a:lnTo>
                <a:lnTo>
                  <a:pt x="1283" y="494"/>
                </a:lnTo>
                <a:lnTo>
                  <a:pt x="1291" y="491"/>
                </a:lnTo>
                <a:lnTo>
                  <a:pt x="1298" y="486"/>
                </a:lnTo>
                <a:lnTo>
                  <a:pt x="1306" y="481"/>
                </a:lnTo>
                <a:lnTo>
                  <a:pt x="1312" y="474"/>
                </a:lnTo>
                <a:lnTo>
                  <a:pt x="1319" y="468"/>
                </a:lnTo>
                <a:lnTo>
                  <a:pt x="1324" y="462"/>
                </a:lnTo>
                <a:lnTo>
                  <a:pt x="1327" y="454"/>
                </a:lnTo>
                <a:lnTo>
                  <a:pt x="1332" y="445"/>
                </a:lnTo>
                <a:lnTo>
                  <a:pt x="1335" y="438"/>
                </a:lnTo>
                <a:lnTo>
                  <a:pt x="1338" y="429"/>
                </a:lnTo>
                <a:lnTo>
                  <a:pt x="1339" y="420"/>
                </a:lnTo>
                <a:lnTo>
                  <a:pt x="1339" y="410"/>
                </a:lnTo>
                <a:lnTo>
                  <a:pt x="1339" y="410"/>
                </a:lnTo>
                <a:lnTo>
                  <a:pt x="1339" y="404"/>
                </a:lnTo>
                <a:lnTo>
                  <a:pt x="1449" y="404"/>
                </a:lnTo>
                <a:lnTo>
                  <a:pt x="1449" y="344"/>
                </a:lnTo>
                <a:close/>
                <a:moveTo>
                  <a:pt x="202" y="450"/>
                </a:moveTo>
                <a:lnTo>
                  <a:pt x="202" y="450"/>
                </a:lnTo>
                <a:lnTo>
                  <a:pt x="193" y="449"/>
                </a:lnTo>
                <a:lnTo>
                  <a:pt x="186" y="446"/>
                </a:lnTo>
                <a:lnTo>
                  <a:pt x="180" y="443"/>
                </a:lnTo>
                <a:lnTo>
                  <a:pt x="173" y="439"/>
                </a:lnTo>
                <a:lnTo>
                  <a:pt x="168" y="433"/>
                </a:lnTo>
                <a:lnTo>
                  <a:pt x="164" y="426"/>
                </a:lnTo>
                <a:lnTo>
                  <a:pt x="163" y="419"/>
                </a:lnTo>
                <a:lnTo>
                  <a:pt x="162" y="410"/>
                </a:lnTo>
                <a:lnTo>
                  <a:pt x="162" y="410"/>
                </a:lnTo>
                <a:lnTo>
                  <a:pt x="163" y="402"/>
                </a:lnTo>
                <a:lnTo>
                  <a:pt x="164" y="395"/>
                </a:lnTo>
                <a:lnTo>
                  <a:pt x="168" y="388"/>
                </a:lnTo>
                <a:lnTo>
                  <a:pt x="173" y="382"/>
                </a:lnTo>
                <a:lnTo>
                  <a:pt x="180" y="377"/>
                </a:lnTo>
                <a:lnTo>
                  <a:pt x="186" y="373"/>
                </a:lnTo>
                <a:lnTo>
                  <a:pt x="193" y="371"/>
                </a:lnTo>
                <a:lnTo>
                  <a:pt x="202" y="371"/>
                </a:lnTo>
                <a:lnTo>
                  <a:pt x="202" y="371"/>
                </a:lnTo>
                <a:lnTo>
                  <a:pt x="210" y="371"/>
                </a:lnTo>
                <a:lnTo>
                  <a:pt x="217" y="373"/>
                </a:lnTo>
                <a:lnTo>
                  <a:pt x="224" y="377"/>
                </a:lnTo>
                <a:lnTo>
                  <a:pt x="230" y="382"/>
                </a:lnTo>
                <a:lnTo>
                  <a:pt x="235" y="388"/>
                </a:lnTo>
                <a:lnTo>
                  <a:pt x="239" y="395"/>
                </a:lnTo>
                <a:lnTo>
                  <a:pt x="241" y="402"/>
                </a:lnTo>
                <a:lnTo>
                  <a:pt x="241" y="410"/>
                </a:lnTo>
                <a:lnTo>
                  <a:pt x="241" y="410"/>
                </a:lnTo>
                <a:lnTo>
                  <a:pt x="241" y="419"/>
                </a:lnTo>
                <a:lnTo>
                  <a:pt x="239" y="426"/>
                </a:lnTo>
                <a:lnTo>
                  <a:pt x="235" y="433"/>
                </a:lnTo>
                <a:lnTo>
                  <a:pt x="230" y="439"/>
                </a:lnTo>
                <a:lnTo>
                  <a:pt x="224" y="443"/>
                </a:lnTo>
                <a:lnTo>
                  <a:pt x="217" y="446"/>
                </a:lnTo>
                <a:lnTo>
                  <a:pt x="210" y="449"/>
                </a:lnTo>
                <a:lnTo>
                  <a:pt x="202" y="450"/>
                </a:lnTo>
                <a:lnTo>
                  <a:pt x="202" y="450"/>
                </a:lnTo>
                <a:close/>
                <a:moveTo>
                  <a:pt x="293" y="189"/>
                </a:moveTo>
                <a:lnTo>
                  <a:pt x="72" y="189"/>
                </a:lnTo>
                <a:lnTo>
                  <a:pt x="101" y="46"/>
                </a:lnTo>
                <a:lnTo>
                  <a:pt x="293" y="46"/>
                </a:lnTo>
                <a:lnTo>
                  <a:pt x="293" y="189"/>
                </a:lnTo>
                <a:close/>
                <a:moveTo>
                  <a:pt x="981" y="450"/>
                </a:moveTo>
                <a:lnTo>
                  <a:pt x="981" y="450"/>
                </a:lnTo>
                <a:lnTo>
                  <a:pt x="972" y="449"/>
                </a:lnTo>
                <a:lnTo>
                  <a:pt x="965" y="446"/>
                </a:lnTo>
                <a:lnTo>
                  <a:pt x="958" y="443"/>
                </a:lnTo>
                <a:lnTo>
                  <a:pt x="952" y="439"/>
                </a:lnTo>
                <a:lnTo>
                  <a:pt x="948" y="433"/>
                </a:lnTo>
                <a:lnTo>
                  <a:pt x="944" y="426"/>
                </a:lnTo>
                <a:lnTo>
                  <a:pt x="942" y="419"/>
                </a:lnTo>
                <a:lnTo>
                  <a:pt x="941" y="410"/>
                </a:lnTo>
                <a:lnTo>
                  <a:pt x="941" y="410"/>
                </a:lnTo>
                <a:lnTo>
                  <a:pt x="942" y="402"/>
                </a:lnTo>
                <a:lnTo>
                  <a:pt x="944" y="395"/>
                </a:lnTo>
                <a:lnTo>
                  <a:pt x="948" y="388"/>
                </a:lnTo>
                <a:lnTo>
                  <a:pt x="952" y="382"/>
                </a:lnTo>
                <a:lnTo>
                  <a:pt x="958" y="377"/>
                </a:lnTo>
                <a:lnTo>
                  <a:pt x="965" y="373"/>
                </a:lnTo>
                <a:lnTo>
                  <a:pt x="972" y="371"/>
                </a:lnTo>
                <a:lnTo>
                  <a:pt x="981" y="371"/>
                </a:lnTo>
                <a:lnTo>
                  <a:pt x="981" y="371"/>
                </a:lnTo>
                <a:lnTo>
                  <a:pt x="989" y="371"/>
                </a:lnTo>
                <a:lnTo>
                  <a:pt x="996" y="373"/>
                </a:lnTo>
                <a:lnTo>
                  <a:pt x="1004" y="377"/>
                </a:lnTo>
                <a:lnTo>
                  <a:pt x="1009" y="382"/>
                </a:lnTo>
                <a:lnTo>
                  <a:pt x="1014" y="388"/>
                </a:lnTo>
                <a:lnTo>
                  <a:pt x="1018" y="395"/>
                </a:lnTo>
                <a:lnTo>
                  <a:pt x="1020" y="402"/>
                </a:lnTo>
                <a:lnTo>
                  <a:pt x="1020" y="410"/>
                </a:lnTo>
                <a:lnTo>
                  <a:pt x="1020" y="410"/>
                </a:lnTo>
                <a:lnTo>
                  <a:pt x="1020" y="419"/>
                </a:lnTo>
                <a:lnTo>
                  <a:pt x="1018" y="426"/>
                </a:lnTo>
                <a:lnTo>
                  <a:pt x="1014" y="433"/>
                </a:lnTo>
                <a:lnTo>
                  <a:pt x="1009" y="439"/>
                </a:lnTo>
                <a:lnTo>
                  <a:pt x="1004" y="443"/>
                </a:lnTo>
                <a:lnTo>
                  <a:pt x="996" y="446"/>
                </a:lnTo>
                <a:lnTo>
                  <a:pt x="989" y="449"/>
                </a:lnTo>
                <a:lnTo>
                  <a:pt x="981" y="450"/>
                </a:lnTo>
                <a:lnTo>
                  <a:pt x="981" y="450"/>
                </a:lnTo>
                <a:close/>
                <a:moveTo>
                  <a:pt x="1248" y="450"/>
                </a:moveTo>
                <a:lnTo>
                  <a:pt x="1248" y="450"/>
                </a:lnTo>
                <a:lnTo>
                  <a:pt x="1239" y="449"/>
                </a:lnTo>
                <a:lnTo>
                  <a:pt x="1233" y="446"/>
                </a:lnTo>
                <a:lnTo>
                  <a:pt x="1225" y="443"/>
                </a:lnTo>
                <a:lnTo>
                  <a:pt x="1219" y="439"/>
                </a:lnTo>
                <a:lnTo>
                  <a:pt x="1215" y="433"/>
                </a:lnTo>
                <a:lnTo>
                  <a:pt x="1211" y="426"/>
                </a:lnTo>
                <a:lnTo>
                  <a:pt x="1209" y="419"/>
                </a:lnTo>
                <a:lnTo>
                  <a:pt x="1207" y="410"/>
                </a:lnTo>
                <a:lnTo>
                  <a:pt x="1207" y="410"/>
                </a:lnTo>
                <a:lnTo>
                  <a:pt x="1209" y="402"/>
                </a:lnTo>
                <a:lnTo>
                  <a:pt x="1211" y="395"/>
                </a:lnTo>
                <a:lnTo>
                  <a:pt x="1215" y="388"/>
                </a:lnTo>
                <a:lnTo>
                  <a:pt x="1219" y="382"/>
                </a:lnTo>
                <a:lnTo>
                  <a:pt x="1225" y="377"/>
                </a:lnTo>
                <a:lnTo>
                  <a:pt x="1233" y="373"/>
                </a:lnTo>
                <a:lnTo>
                  <a:pt x="1239" y="371"/>
                </a:lnTo>
                <a:lnTo>
                  <a:pt x="1248" y="371"/>
                </a:lnTo>
                <a:lnTo>
                  <a:pt x="1248" y="371"/>
                </a:lnTo>
                <a:lnTo>
                  <a:pt x="1255" y="371"/>
                </a:lnTo>
                <a:lnTo>
                  <a:pt x="1263" y="373"/>
                </a:lnTo>
                <a:lnTo>
                  <a:pt x="1271" y="377"/>
                </a:lnTo>
                <a:lnTo>
                  <a:pt x="1276" y="382"/>
                </a:lnTo>
                <a:lnTo>
                  <a:pt x="1281" y="388"/>
                </a:lnTo>
                <a:lnTo>
                  <a:pt x="1284" y="395"/>
                </a:lnTo>
                <a:lnTo>
                  <a:pt x="1287" y="402"/>
                </a:lnTo>
                <a:lnTo>
                  <a:pt x="1288" y="410"/>
                </a:lnTo>
                <a:lnTo>
                  <a:pt x="1288" y="410"/>
                </a:lnTo>
                <a:lnTo>
                  <a:pt x="1287" y="419"/>
                </a:lnTo>
                <a:lnTo>
                  <a:pt x="1284" y="426"/>
                </a:lnTo>
                <a:lnTo>
                  <a:pt x="1281" y="433"/>
                </a:lnTo>
                <a:lnTo>
                  <a:pt x="1276" y="439"/>
                </a:lnTo>
                <a:lnTo>
                  <a:pt x="1271" y="443"/>
                </a:lnTo>
                <a:lnTo>
                  <a:pt x="1263" y="446"/>
                </a:lnTo>
                <a:lnTo>
                  <a:pt x="1255" y="449"/>
                </a:lnTo>
                <a:lnTo>
                  <a:pt x="1248" y="450"/>
                </a:lnTo>
                <a:lnTo>
                  <a:pt x="1248" y="450"/>
                </a:lnTo>
                <a:close/>
              </a:path>
            </a:pathLst>
          </a:custGeom>
          <a:solidFill>
            <a:srgbClr val="004E6B"/>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151" name="Rectangle 150"/>
          <p:cNvSpPr/>
          <p:nvPr/>
        </p:nvSpPr>
        <p:spPr>
          <a:xfrm>
            <a:off x="3654767" y="4878596"/>
            <a:ext cx="811820" cy="265509"/>
          </a:xfrm>
          <a:prstGeom prst="rect">
            <a:avLst/>
          </a:prstGeom>
          <a:solidFill>
            <a:srgbClr val="004E6B"/>
          </a:solidFill>
          <a:ln w="12700" cap="flat" cmpd="sng" algn="ctr">
            <a:noFill/>
            <a:prstDash val="solid"/>
            <a:miter lim="800000"/>
          </a:ln>
          <a:effectLst/>
        </p:spPr>
        <p:txBody>
          <a:bodyPr rtlCol="0" anchor="ctr"/>
          <a:lstStyle/>
          <a:p>
            <a:pPr algn="ctr">
              <a:spcBef>
                <a:spcPts val="60"/>
              </a:spcBef>
              <a:spcAft>
                <a:spcPts val="600"/>
              </a:spcAft>
              <a:defRPr/>
            </a:pPr>
            <a:endParaRPr lang="en-GB" kern="0" dirty="0">
              <a:solidFill>
                <a:srgbClr val="FFFFFF"/>
              </a:solidFill>
              <a:latin typeface="Zetta Sans Book"/>
            </a:endParaRPr>
          </a:p>
        </p:txBody>
      </p:sp>
      <p:pic>
        <p:nvPicPr>
          <p:cNvPr id="148" name="Picture 14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8597" y="5210366"/>
            <a:ext cx="984713" cy="268934"/>
          </a:xfrm>
          <a:prstGeom prst="rect">
            <a:avLst/>
          </a:prstGeom>
        </p:spPr>
      </p:pic>
      <p:pic>
        <p:nvPicPr>
          <p:cNvPr id="149" name="Picture 14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29289" y="5085572"/>
            <a:ext cx="1101015" cy="611044"/>
          </a:xfrm>
          <a:prstGeom prst="rect">
            <a:avLst/>
          </a:prstGeom>
        </p:spPr>
      </p:pic>
      <p:sp>
        <p:nvSpPr>
          <p:cNvPr id="199" name="Freeform 35"/>
          <p:cNvSpPr>
            <a:spLocks noEditPoints="1"/>
          </p:cNvSpPr>
          <p:nvPr/>
        </p:nvSpPr>
        <p:spPr bwMode="auto">
          <a:xfrm>
            <a:off x="1647726" y="4689149"/>
            <a:ext cx="734183" cy="424535"/>
          </a:xfrm>
          <a:custGeom>
            <a:avLst/>
            <a:gdLst>
              <a:gd name="T0" fmla="*/ 11103 w 12672"/>
              <a:gd name="T1" fmla="*/ 4678 h 6708"/>
              <a:gd name="T2" fmla="*/ 11032 w 12672"/>
              <a:gd name="T3" fmla="*/ 4357 h 6708"/>
              <a:gd name="T4" fmla="*/ 10782 w 12672"/>
              <a:gd name="T5" fmla="*/ 4313 h 6708"/>
              <a:gd name="T6" fmla="*/ 10617 w 12672"/>
              <a:gd name="T7" fmla="*/ 4328 h 6708"/>
              <a:gd name="T8" fmla="*/ 9977 w 12672"/>
              <a:gd name="T9" fmla="*/ 4138 h 6708"/>
              <a:gd name="T10" fmla="*/ 8427 w 12672"/>
              <a:gd name="T11" fmla="*/ 2591 h 6708"/>
              <a:gd name="T12" fmla="*/ 8295 w 12672"/>
              <a:gd name="T13" fmla="*/ 1980 h 6708"/>
              <a:gd name="T14" fmla="*/ 7450 w 12672"/>
              <a:gd name="T15" fmla="*/ 1980 h 6708"/>
              <a:gd name="T16" fmla="*/ 7450 w 12672"/>
              <a:gd name="T17" fmla="*/ 1393 h 6708"/>
              <a:gd name="T18" fmla="*/ 6840 w 12672"/>
              <a:gd name="T19" fmla="*/ 2971 h 6708"/>
              <a:gd name="T20" fmla="*/ 6199 w 12672"/>
              <a:gd name="T21" fmla="*/ 3950 h 6708"/>
              <a:gd name="T22" fmla="*/ 6869 w 12672"/>
              <a:gd name="T23" fmla="*/ 4030 h 6708"/>
              <a:gd name="T24" fmla="*/ 5178 w 12672"/>
              <a:gd name="T25" fmla="*/ 2603 h 6708"/>
              <a:gd name="T26" fmla="*/ 5142 w 12672"/>
              <a:gd name="T27" fmla="*/ 2639 h 6708"/>
              <a:gd name="T28" fmla="*/ 5129 w 12672"/>
              <a:gd name="T29" fmla="*/ 2776 h 6708"/>
              <a:gd name="T30" fmla="*/ 5156 w 12672"/>
              <a:gd name="T31" fmla="*/ 2883 h 6708"/>
              <a:gd name="T32" fmla="*/ 5097 w 12672"/>
              <a:gd name="T33" fmla="*/ 3456 h 6708"/>
              <a:gd name="T34" fmla="*/ 4726 w 12672"/>
              <a:gd name="T35" fmla="*/ 2611 h 6708"/>
              <a:gd name="T36" fmla="*/ 4695 w 12672"/>
              <a:gd name="T37" fmla="*/ 2701 h 6708"/>
              <a:gd name="T38" fmla="*/ 4704 w 12672"/>
              <a:gd name="T39" fmla="*/ 2847 h 6708"/>
              <a:gd name="T40" fmla="*/ 4847 w 12672"/>
              <a:gd name="T41" fmla="*/ 2986 h 6708"/>
              <a:gd name="T42" fmla="*/ 4690 w 12672"/>
              <a:gd name="T43" fmla="*/ 5153 h 6708"/>
              <a:gd name="T44" fmla="*/ 4566 w 12672"/>
              <a:gd name="T45" fmla="*/ 4918 h 6708"/>
              <a:gd name="T46" fmla="*/ 4342 w 12672"/>
              <a:gd name="T47" fmla="*/ 4837 h 6708"/>
              <a:gd name="T48" fmla="*/ 4208 w 12672"/>
              <a:gd name="T49" fmla="*/ 4866 h 6708"/>
              <a:gd name="T50" fmla="*/ 3805 w 12672"/>
              <a:gd name="T51" fmla="*/ 5013 h 6708"/>
              <a:gd name="T52" fmla="*/ 647 w 12672"/>
              <a:gd name="T53" fmla="*/ 6703 h 6708"/>
              <a:gd name="T54" fmla="*/ 12609 w 12672"/>
              <a:gd name="T55" fmla="*/ 5014 h 6708"/>
              <a:gd name="T56" fmla="*/ 12672 w 12672"/>
              <a:gd name="T57" fmla="*/ 4879 h 6708"/>
              <a:gd name="T58" fmla="*/ 12619 w 12672"/>
              <a:gd name="T59" fmla="*/ 4815 h 6708"/>
              <a:gd name="T60" fmla="*/ 6357 w 12672"/>
              <a:gd name="T61" fmla="*/ 4297 h 6708"/>
              <a:gd name="T62" fmla="*/ 6324 w 12672"/>
              <a:gd name="T63" fmla="*/ 4174 h 6708"/>
              <a:gd name="T64" fmla="*/ 5950 w 12672"/>
              <a:gd name="T65" fmla="*/ 4330 h 6708"/>
              <a:gd name="T66" fmla="*/ 5917 w 12672"/>
              <a:gd name="T67" fmla="*/ 4459 h 6708"/>
              <a:gd name="T68" fmla="*/ 6052 w 12672"/>
              <a:gd name="T69" fmla="*/ 5051 h 6708"/>
              <a:gd name="T70" fmla="*/ 6324 w 12672"/>
              <a:gd name="T71" fmla="*/ 4582 h 6708"/>
              <a:gd name="T72" fmla="*/ 6729 w 12672"/>
              <a:gd name="T73" fmla="*/ 4492 h 6708"/>
              <a:gd name="T74" fmla="*/ 6840 w 12672"/>
              <a:gd name="T75" fmla="*/ 5051 h 6708"/>
              <a:gd name="T76" fmla="*/ 6762 w 12672"/>
              <a:gd name="T77" fmla="*/ 4330 h 6708"/>
              <a:gd name="T78" fmla="*/ 9166 w 12672"/>
              <a:gd name="T79" fmla="*/ 4174 h 6708"/>
              <a:gd name="T80" fmla="*/ 8777 w 12672"/>
              <a:gd name="T81" fmla="*/ 4330 h 6708"/>
              <a:gd name="T82" fmla="*/ 8680 w 12672"/>
              <a:gd name="T83" fmla="*/ 2752 h 6708"/>
              <a:gd name="T84" fmla="*/ 8105 w 12672"/>
              <a:gd name="T85" fmla="*/ 2913 h 6708"/>
              <a:gd name="T86" fmla="*/ 8027 w 12672"/>
              <a:gd name="T87" fmla="*/ 2880 h 6708"/>
              <a:gd name="T88" fmla="*/ 8241 w 12672"/>
              <a:gd name="T89" fmla="*/ 2759 h 6708"/>
              <a:gd name="T90" fmla="*/ 7450 w 12672"/>
              <a:gd name="T91" fmla="*/ 2187 h 6708"/>
              <a:gd name="T92" fmla="*/ 7450 w 12672"/>
              <a:gd name="T93" fmla="*/ 2719 h 6708"/>
              <a:gd name="T94" fmla="*/ 7968 w 12672"/>
              <a:gd name="T95" fmla="*/ 2913 h 6708"/>
              <a:gd name="T96" fmla="*/ 6881 w 12672"/>
              <a:gd name="T97" fmla="*/ 2624 h 6708"/>
              <a:gd name="T98" fmla="*/ 7313 w 12672"/>
              <a:gd name="T99" fmla="*/ 2979 h 6708"/>
              <a:gd name="T100" fmla="*/ 6865 w 12672"/>
              <a:gd name="T101" fmla="*/ 3822 h 6708"/>
              <a:gd name="T102" fmla="*/ 7126 w 12672"/>
              <a:gd name="T103" fmla="*/ 4822 h 6708"/>
              <a:gd name="T104" fmla="*/ 7578 w 12672"/>
              <a:gd name="T105" fmla="*/ 5051 h 6708"/>
              <a:gd name="T106" fmla="*/ 8019 w 12672"/>
              <a:gd name="T107" fmla="*/ 5051 h 6708"/>
              <a:gd name="T108" fmla="*/ 8662 w 12672"/>
              <a:gd name="T109" fmla="*/ 3225 h 6708"/>
              <a:gd name="T110" fmla="*/ 8777 w 12672"/>
              <a:gd name="T111" fmla="*/ 4492 h 6708"/>
              <a:gd name="T112" fmla="*/ 9207 w 12672"/>
              <a:gd name="T113" fmla="*/ 4822 h 6708"/>
              <a:gd name="T114" fmla="*/ 9201 w 12672"/>
              <a:gd name="T115" fmla="*/ 4582 h 6708"/>
              <a:gd name="T116" fmla="*/ 9573 w 12672"/>
              <a:gd name="T117" fmla="*/ 4459 h 6708"/>
              <a:gd name="T118" fmla="*/ 9908 w 12672"/>
              <a:gd name="T119" fmla="*/ 4737 h 6708"/>
              <a:gd name="T120" fmla="*/ 9606 w 12672"/>
              <a:gd name="T121" fmla="*/ 4330 h 6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72" h="6708">
                <a:moveTo>
                  <a:pt x="12565" y="4800"/>
                </a:moveTo>
                <a:lnTo>
                  <a:pt x="12381" y="4800"/>
                </a:lnTo>
                <a:lnTo>
                  <a:pt x="12249" y="4615"/>
                </a:lnTo>
                <a:lnTo>
                  <a:pt x="11627" y="4650"/>
                </a:lnTo>
                <a:lnTo>
                  <a:pt x="11627" y="4357"/>
                </a:lnTo>
                <a:lnTo>
                  <a:pt x="11469" y="4357"/>
                </a:lnTo>
                <a:lnTo>
                  <a:pt x="11469" y="4657"/>
                </a:lnTo>
                <a:lnTo>
                  <a:pt x="11103" y="4678"/>
                </a:lnTo>
                <a:lnTo>
                  <a:pt x="11103" y="4678"/>
                </a:lnTo>
                <a:lnTo>
                  <a:pt x="11103" y="4675"/>
                </a:lnTo>
                <a:lnTo>
                  <a:pt x="11112" y="4677"/>
                </a:lnTo>
                <a:lnTo>
                  <a:pt x="11097" y="4614"/>
                </a:lnTo>
                <a:lnTo>
                  <a:pt x="11097" y="4614"/>
                </a:lnTo>
                <a:lnTo>
                  <a:pt x="11091" y="4590"/>
                </a:lnTo>
                <a:lnTo>
                  <a:pt x="11085" y="4566"/>
                </a:lnTo>
                <a:lnTo>
                  <a:pt x="11032" y="4357"/>
                </a:lnTo>
                <a:lnTo>
                  <a:pt x="10914" y="4357"/>
                </a:lnTo>
                <a:lnTo>
                  <a:pt x="10914" y="4357"/>
                </a:lnTo>
                <a:lnTo>
                  <a:pt x="10893" y="4346"/>
                </a:lnTo>
                <a:lnTo>
                  <a:pt x="10872" y="4337"/>
                </a:lnTo>
                <a:lnTo>
                  <a:pt x="10851" y="4328"/>
                </a:lnTo>
                <a:lnTo>
                  <a:pt x="10828" y="4322"/>
                </a:lnTo>
                <a:lnTo>
                  <a:pt x="10804" y="4316"/>
                </a:lnTo>
                <a:lnTo>
                  <a:pt x="10782" y="4313"/>
                </a:lnTo>
                <a:lnTo>
                  <a:pt x="10758" y="4310"/>
                </a:lnTo>
                <a:lnTo>
                  <a:pt x="10734" y="4309"/>
                </a:lnTo>
                <a:lnTo>
                  <a:pt x="10734" y="4309"/>
                </a:lnTo>
                <a:lnTo>
                  <a:pt x="10708" y="4310"/>
                </a:lnTo>
                <a:lnTo>
                  <a:pt x="10684" y="4313"/>
                </a:lnTo>
                <a:lnTo>
                  <a:pt x="10662" y="4316"/>
                </a:lnTo>
                <a:lnTo>
                  <a:pt x="10638" y="4322"/>
                </a:lnTo>
                <a:lnTo>
                  <a:pt x="10617" y="4328"/>
                </a:lnTo>
                <a:lnTo>
                  <a:pt x="10594" y="4337"/>
                </a:lnTo>
                <a:lnTo>
                  <a:pt x="10573" y="4346"/>
                </a:lnTo>
                <a:lnTo>
                  <a:pt x="10552" y="4357"/>
                </a:lnTo>
                <a:lnTo>
                  <a:pt x="10253" y="4357"/>
                </a:lnTo>
                <a:lnTo>
                  <a:pt x="10187" y="4516"/>
                </a:lnTo>
                <a:lnTo>
                  <a:pt x="10187" y="4337"/>
                </a:lnTo>
                <a:lnTo>
                  <a:pt x="10063" y="4138"/>
                </a:lnTo>
                <a:lnTo>
                  <a:pt x="9977" y="4138"/>
                </a:lnTo>
                <a:lnTo>
                  <a:pt x="9977" y="4139"/>
                </a:lnTo>
                <a:lnTo>
                  <a:pt x="9977" y="4141"/>
                </a:lnTo>
                <a:lnTo>
                  <a:pt x="8777" y="4141"/>
                </a:lnTo>
                <a:lnTo>
                  <a:pt x="8777" y="4012"/>
                </a:lnTo>
                <a:lnTo>
                  <a:pt x="9046" y="3151"/>
                </a:lnTo>
                <a:lnTo>
                  <a:pt x="8714" y="2883"/>
                </a:lnTo>
                <a:lnTo>
                  <a:pt x="8714" y="2591"/>
                </a:lnTo>
                <a:lnTo>
                  <a:pt x="8427" y="2591"/>
                </a:lnTo>
                <a:lnTo>
                  <a:pt x="8427" y="2051"/>
                </a:lnTo>
                <a:lnTo>
                  <a:pt x="8381" y="2051"/>
                </a:lnTo>
                <a:lnTo>
                  <a:pt x="8381" y="1980"/>
                </a:lnTo>
                <a:lnTo>
                  <a:pt x="8447" y="1980"/>
                </a:lnTo>
                <a:lnTo>
                  <a:pt x="8447" y="1814"/>
                </a:lnTo>
                <a:lnTo>
                  <a:pt x="8234" y="1814"/>
                </a:lnTo>
                <a:lnTo>
                  <a:pt x="8234" y="1980"/>
                </a:lnTo>
                <a:lnTo>
                  <a:pt x="8295" y="1980"/>
                </a:lnTo>
                <a:lnTo>
                  <a:pt x="8295" y="2051"/>
                </a:lnTo>
                <a:lnTo>
                  <a:pt x="8262" y="2051"/>
                </a:lnTo>
                <a:lnTo>
                  <a:pt x="8262" y="2492"/>
                </a:lnTo>
                <a:lnTo>
                  <a:pt x="8225" y="2591"/>
                </a:lnTo>
                <a:lnTo>
                  <a:pt x="7851" y="2591"/>
                </a:lnTo>
                <a:lnTo>
                  <a:pt x="7554" y="2102"/>
                </a:lnTo>
                <a:lnTo>
                  <a:pt x="7554" y="1980"/>
                </a:lnTo>
                <a:lnTo>
                  <a:pt x="7450" y="1980"/>
                </a:lnTo>
                <a:lnTo>
                  <a:pt x="7450" y="1776"/>
                </a:lnTo>
                <a:lnTo>
                  <a:pt x="9132" y="1776"/>
                </a:lnTo>
                <a:lnTo>
                  <a:pt x="9132" y="1697"/>
                </a:lnTo>
                <a:lnTo>
                  <a:pt x="7450" y="1697"/>
                </a:lnTo>
                <a:lnTo>
                  <a:pt x="7450" y="1482"/>
                </a:lnTo>
                <a:lnTo>
                  <a:pt x="8225" y="1482"/>
                </a:lnTo>
                <a:lnTo>
                  <a:pt x="8225" y="1393"/>
                </a:lnTo>
                <a:lnTo>
                  <a:pt x="7450" y="1393"/>
                </a:lnTo>
                <a:lnTo>
                  <a:pt x="7450" y="53"/>
                </a:lnTo>
                <a:lnTo>
                  <a:pt x="7587" y="33"/>
                </a:lnTo>
                <a:lnTo>
                  <a:pt x="7587" y="0"/>
                </a:lnTo>
                <a:lnTo>
                  <a:pt x="7313" y="0"/>
                </a:lnTo>
                <a:lnTo>
                  <a:pt x="7313" y="2591"/>
                </a:lnTo>
                <a:lnTo>
                  <a:pt x="6848" y="2591"/>
                </a:lnTo>
                <a:lnTo>
                  <a:pt x="6848" y="2971"/>
                </a:lnTo>
                <a:lnTo>
                  <a:pt x="6840" y="2971"/>
                </a:lnTo>
                <a:lnTo>
                  <a:pt x="6614" y="3147"/>
                </a:lnTo>
                <a:lnTo>
                  <a:pt x="6731" y="3549"/>
                </a:lnTo>
                <a:lnTo>
                  <a:pt x="6301" y="3328"/>
                </a:lnTo>
                <a:lnTo>
                  <a:pt x="6210" y="3318"/>
                </a:lnTo>
                <a:lnTo>
                  <a:pt x="6208" y="3316"/>
                </a:lnTo>
                <a:lnTo>
                  <a:pt x="6151" y="3399"/>
                </a:lnTo>
                <a:lnTo>
                  <a:pt x="6199" y="3428"/>
                </a:lnTo>
                <a:lnTo>
                  <a:pt x="6199" y="3950"/>
                </a:lnTo>
                <a:lnTo>
                  <a:pt x="6216" y="3950"/>
                </a:lnTo>
                <a:lnTo>
                  <a:pt x="6216" y="3437"/>
                </a:lnTo>
                <a:lnTo>
                  <a:pt x="6331" y="3504"/>
                </a:lnTo>
                <a:lnTo>
                  <a:pt x="6331" y="3723"/>
                </a:lnTo>
                <a:lnTo>
                  <a:pt x="6348" y="3723"/>
                </a:lnTo>
                <a:lnTo>
                  <a:pt x="6348" y="3513"/>
                </a:lnTo>
                <a:lnTo>
                  <a:pt x="6794" y="3768"/>
                </a:lnTo>
                <a:lnTo>
                  <a:pt x="6869" y="4030"/>
                </a:lnTo>
                <a:lnTo>
                  <a:pt x="6869" y="4141"/>
                </a:lnTo>
                <a:lnTo>
                  <a:pt x="5654" y="4141"/>
                </a:lnTo>
                <a:lnTo>
                  <a:pt x="5654" y="3419"/>
                </a:lnTo>
                <a:lnTo>
                  <a:pt x="5533" y="3428"/>
                </a:lnTo>
                <a:lnTo>
                  <a:pt x="5533" y="3028"/>
                </a:lnTo>
                <a:lnTo>
                  <a:pt x="5489" y="3028"/>
                </a:lnTo>
                <a:lnTo>
                  <a:pt x="5489" y="2944"/>
                </a:lnTo>
                <a:lnTo>
                  <a:pt x="5178" y="2603"/>
                </a:lnTo>
                <a:lnTo>
                  <a:pt x="5178" y="2603"/>
                </a:lnTo>
                <a:lnTo>
                  <a:pt x="5175" y="2603"/>
                </a:lnTo>
                <a:lnTo>
                  <a:pt x="5169" y="2606"/>
                </a:lnTo>
                <a:lnTo>
                  <a:pt x="5162" y="2611"/>
                </a:lnTo>
                <a:lnTo>
                  <a:pt x="5156" y="2615"/>
                </a:lnTo>
                <a:lnTo>
                  <a:pt x="5151" y="2621"/>
                </a:lnTo>
                <a:lnTo>
                  <a:pt x="5147" y="2629"/>
                </a:lnTo>
                <a:lnTo>
                  <a:pt x="5142" y="2639"/>
                </a:lnTo>
                <a:lnTo>
                  <a:pt x="5138" y="2651"/>
                </a:lnTo>
                <a:lnTo>
                  <a:pt x="5133" y="2665"/>
                </a:lnTo>
                <a:lnTo>
                  <a:pt x="5130" y="2681"/>
                </a:lnTo>
                <a:lnTo>
                  <a:pt x="5129" y="2701"/>
                </a:lnTo>
                <a:lnTo>
                  <a:pt x="5127" y="2723"/>
                </a:lnTo>
                <a:lnTo>
                  <a:pt x="5127" y="2750"/>
                </a:lnTo>
                <a:lnTo>
                  <a:pt x="5127" y="2750"/>
                </a:lnTo>
                <a:lnTo>
                  <a:pt x="5129" y="2776"/>
                </a:lnTo>
                <a:lnTo>
                  <a:pt x="5130" y="2797"/>
                </a:lnTo>
                <a:lnTo>
                  <a:pt x="5132" y="2817"/>
                </a:lnTo>
                <a:lnTo>
                  <a:pt x="5135" y="2833"/>
                </a:lnTo>
                <a:lnTo>
                  <a:pt x="5138" y="2847"/>
                </a:lnTo>
                <a:lnTo>
                  <a:pt x="5142" y="2857"/>
                </a:lnTo>
                <a:lnTo>
                  <a:pt x="5145" y="2866"/>
                </a:lnTo>
                <a:lnTo>
                  <a:pt x="5150" y="2874"/>
                </a:lnTo>
                <a:lnTo>
                  <a:pt x="5156" y="2883"/>
                </a:lnTo>
                <a:lnTo>
                  <a:pt x="5162" y="2886"/>
                </a:lnTo>
                <a:lnTo>
                  <a:pt x="5166" y="2887"/>
                </a:lnTo>
                <a:lnTo>
                  <a:pt x="5168" y="2887"/>
                </a:lnTo>
                <a:lnTo>
                  <a:pt x="5282" y="2986"/>
                </a:lnTo>
                <a:lnTo>
                  <a:pt x="5282" y="3028"/>
                </a:lnTo>
                <a:lnTo>
                  <a:pt x="5234" y="3028"/>
                </a:lnTo>
                <a:lnTo>
                  <a:pt x="5234" y="3447"/>
                </a:lnTo>
                <a:lnTo>
                  <a:pt x="5097" y="3456"/>
                </a:lnTo>
                <a:lnTo>
                  <a:pt x="5097" y="3028"/>
                </a:lnTo>
                <a:lnTo>
                  <a:pt x="5055" y="3028"/>
                </a:lnTo>
                <a:lnTo>
                  <a:pt x="5055" y="2944"/>
                </a:lnTo>
                <a:lnTo>
                  <a:pt x="4743" y="2603"/>
                </a:lnTo>
                <a:lnTo>
                  <a:pt x="4743" y="2603"/>
                </a:lnTo>
                <a:lnTo>
                  <a:pt x="4741" y="2603"/>
                </a:lnTo>
                <a:lnTo>
                  <a:pt x="4735" y="2606"/>
                </a:lnTo>
                <a:lnTo>
                  <a:pt x="4726" y="2611"/>
                </a:lnTo>
                <a:lnTo>
                  <a:pt x="4722" y="2615"/>
                </a:lnTo>
                <a:lnTo>
                  <a:pt x="4717" y="2621"/>
                </a:lnTo>
                <a:lnTo>
                  <a:pt x="4711" y="2629"/>
                </a:lnTo>
                <a:lnTo>
                  <a:pt x="4707" y="2639"/>
                </a:lnTo>
                <a:lnTo>
                  <a:pt x="4704" y="2651"/>
                </a:lnTo>
                <a:lnTo>
                  <a:pt x="4699" y="2665"/>
                </a:lnTo>
                <a:lnTo>
                  <a:pt x="4696" y="2681"/>
                </a:lnTo>
                <a:lnTo>
                  <a:pt x="4695" y="2701"/>
                </a:lnTo>
                <a:lnTo>
                  <a:pt x="4693" y="2723"/>
                </a:lnTo>
                <a:lnTo>
                  <a:pt x="4693" y="2750"/>
                </a:lnTo>
                <a:lnTo>
                  <a:pt x="4693" y="2750"/>
                </a:lnTo>
                <a:lnTo>
                  <a:pt x="4693" y="2776"/>
                </a:lnTo>
                <a:lnTo>
                  <a:pt x="4695" y="2797"/>
                </a:lnTo>
                <a:lnTo>
                  <a:pt x="4698" y="2817"/>
                </a:lnTo>
                <a:lnTo>
                  <a:pt x="4701" y="2833"/>
                </a:lnTo>
                <a:lnTo>
                  <a:pt x="4704" y="2847"/>
                </a:lnTo>
                <a:lnTo>
                  <a:pt x="4707" y="2857"/>
                </a:lnTo>
                <a:lnTo>
                  <a:pt x="4711" y="2866"/>
                </a:lnTo>
                <a:lnTo>
                  <a:pt x="4714" y="2874"/>
                </a:lnTo>
                <a:lnTo>
                  <a:pt x="4722" y="2883"/>
                </a:lnTo>
                <a:lnTo>
                  <a:pt x="4728" y="2886"/>
                </a:lnTo>
                <a:lnTo>
                  <a:pt x="4732" y="2887"/>
                </a:lnTo>
                <a:lnTo>
                  <a:pt x="4734" y="2887"/>
                </a:lnTo>
                <a:lnTo>
                  <a:pt x="4847" y="2986"/>
                </a:lnTo>
                <a:lnTo>
                  <a:pt x="4847" y="3028"/>
                </a:lnTo>
                <a:lnTo>
                  <a:pt x="4800" y="3028"/>
                </a:lnTo>
                <a:lnTo>
                  <a:pt x="4800" y="3477"/>
                </a:lnTo>
                <a:lnTo>
                  <a:pt x="4693" y="3485"/>
                </a:lnTo>
                <a:lnTo>
                  <a:pt x="4693" y="5189"/>
                </a:lnTo>
                <a:lnTo>
                  <a:pt x="4693" y="5189"/>
                </a:lnTo>
                <a:lnTo>
                  <a:pt x="4692" y="5171"/>
                </a:lnTo>
                <a:lnTo>
                  <a:pt x="4690" y="5153"/>
                </a:lnTo>
                <a:lnTo>
                  <a:pt x="4686" y="5118"/>
                </a:lnTo>
                <a:lnTo>
                  <a:pt x="4677" y="5084"/>
                </a:lnTo>
                <a:lnTo>
                  <a:pt x="4665" y="5052"/>
                </a:lnTo>
                <a:lnTo>
                  <a:pt x="4650" y="5020"/>
                </a:lnTo>
                <a:lnTo>
                  <a:pt x="4633" y="4992"/>
                </a:lnTo>
                <a:lnTo>
                  <a:pt x="4612" y="4965"/>
                </a:lnTo>
                <a:lnTo>
                  <a:pt x="4590" y="4941"/>
                </a:lnTo>
                <a:lnTo>
                  <a:pt x="4566" y="4918"/>
                </a:lnTo>
                <a:lnTo>
                  <a:pt x="4539" y="4897"/>
                </a:lnTo>
                <a:lnTo>
                  <a:pt x="4509" y="4879"/>
                </a:lnTo>
                <a:lnTo>
                  <a:pt x="4479" y="4866"/>
                </a:lnTo>
                <a:lnTo>
                  <a:pt x="4447" y="4854"/>
                </a:lnTo>
                <a:lnTo>
                  <a:pt x="4413" y="4845"/>
                </a:lnTo>
                <a:lnTo>
                  <a:pt x="4378" y="4839"/>
                </a:lnTo>
                <a:lnTo>
                  <a:pt x="4360" y="4837"/>
                </a:lnTo>
                <a:lnTo>
                  <a:pt x="4342" y="4837"/>
                </a:lnTo>
                <a:lnTo>
                  <a:pt x="4342" y="4837"/>
                </a:lnTo>
                <a:lnTo>
                  <a:pt x="4323" y="4839"/>
                </a:lnTo>
                <a:lnTo>
                  <a:pt x="4302" y="4840"/>
                </a:lnTo>
                <a:lnTo>
                  <a:pt x="4282" y="4843"/>
                </a:lnTo>
                <a:lnTo>
                  <a:pt x="4264" y="4846"/>
                </a:lnTo>
                <a:lnTo>
                  <a:pt x="4245" y="4852"/>
                </a:lnTo>
                <a:lnTo>
                  <a:pt x="4227" y="4858"/>
                </a:lnTo>
                <a:lnTo>
                  <a:pt x="4208" y="4866"/>
                </a:lnTo>
                <a:lnTo>
                  <a:pt x="4190" y="4873"/>
                </a:lnTo>
                <a:lnTo>
                  <a:pt x="4190" y="4551"/>
                </a:lnTo>
                <a:lnTo>
                  <a:pt x="4039" y="4551"/>
                </a:lnTo>
                <a:lnTo>
                  <a:pt x="4039" y="4456"/>
                </a:lnTo>
                <a:lnTo>
                  <a:pt x="3944" y="4456"/>
                </a:lnTo>
                <a:lnTo>
                  <a:pt x="3944" y="4837"/>
                </a:lnTo>
                <a:lnTo>
                  <a:pt x="3859" y="4837"/>
                </a:lnTo>
                <a:lnTo>
                  <a:pt x="3805" y="5013"/>
                </a:lnTo>
                <a:lnTo>
                  <a:pt x="3805" y="5216"/>
                </a:lnTo>
                <a:lnTo>
                  <a:pt x="422" y="5144"/>
                </a:lnTo>
                <a:lnTo>
                  <a:pt x="132" y="5567"/>
                </a:lnTo>
                <a:lnTo>
                  <a:pt x="0" y="5567"/>
                </a:lnTo>
                <a:lnTo>
                  <a:pt x="0" y="5845"/>
                </a:lnTo>
                <a:lnTo>
                  <a:pt x="119" y="5845"/>
                </a:lnTo>
                <a:lnTo>
                  <a:pt x="119" y="6235"/>
                </a:lnTo>
                <a:lnTo>
                  <a:pt x="647" y="6703"/>
                </a:lnTo>
                <a:lnTo>
                  <a:pt x="11695" y="6708"/>
                </a:lnTo>
                <a:lnTo>
                  <a:pt x="12023" y="6294"/>
                </a:lnTo>
                <a:lnTo>
                  <a:pt x="12143" y="6294"/>
                </a:lnTo>
                <a:lnTo>
                  <a:pt x="12579" y="5580"/>
                </a:lnTo>
                <a:lnTo>
                  <a:pt x="12579" y="5052"/>
                </a:lnTo>
                <a:lnTo>
                  <a:pt x="12579" y="5052"/>
                </a:lnTo>
                <a:lnTo>
                  <a:pt x="12594" y="5034"/>
                </a:lnTo>
                <a:lnTo>
                  <a:pt x="12609" y="5014"/>
                </a:lnTo>
                <a:lnTo>
                  <a:pt x="12625" y="4990"/>
                </a:lnTo>
                <a:lnTo>
                  <a:pt x="12642" y="4963"/>
                </a:lnTo>
                <a:lnTo>
                  <a:pt x="12657" y="4935"/>
                </a:lnTo>
                <a:lnTo>
                  <a:pt x="12663" y="4920"/>
                </a:lnTo>
                <a:lnTo>
                  <a:pt x="12667" y="4906"/>
                </a:lnTo>
                <a:lnTo>
                  <a:pt x="12670" y="4893"/>
                </a:lnTo>
                <a:lnTo>
                  <a:pt x="12672" y="4879"/>
                </a:lnTo>
                <a:lnTo>
                  <a:pt x="12672" y="4879"/>
                </a:lnTo>
                <a:lnTo>
                  <a:pt x="12670" y="4867"/>
                </a:lnTo>
                <a:lnTo>
                  <a:pt x="12667" y="4857"/>
                </a:lnTo>
                <a:lnTo>
                  <a:pt x="12661" y="4848"/>
                </a:lnTo>
                <a:lnTo>
                  <a:pt x="12655" y="4839"/>
                </a:lnTo>
                <a:lnTo>
                  <a:pt x="12646" y="4831"/>
                </a:lnTo>
                <a:lnTo>
                  <a:pt x="12637" y="4825"/>
                </a:lnTo>
                <a:lnTo>
                  <a:pt x="12628" y="4819"/>
                </a:lnTo>
                <a:lnTo>
                  <a:pt x="12619" y="4815"/>
                </a:lnTo>
                <a:lnTo>
                  <a:pt x="12600" y="4807"/>
                </a:lnTo>
                <a:lnTo>
                  <a:pt x="12582" y="4803"/>
                </a:lnTo>
                <a:lnTo>
                  <a:pt x="12565" y="4800"/>
                </a:lnTo>
                <a:lnTo>
                  <a:pt x="12565" y="4800"/>
                </a:lnTo>
                <a:close/>
                <a:moveTo>
                  <a:pt x="6357" y="4174"/>
                </a:moveTo>
                <a:lnTo>
                  <a:pt x="6729" y="4174"/>
                </a:lnTo>
                <a:lnTo>
                  <a:pt x="6729" y="4297"/>
                </a:lnTo>
                <a:lnTo>
                  <a:pt x="6357" y="4297"/>
                </a:lnTo>
                <a:lnTo>
                  <a:pt x="6357" y="4174"/>
                </a:lnTo>
                <a:close/>
                <a:moveTo>
                  <a:pt x="6357" y="4330"/>
                </a:moveTo>
                <a:lnTo>
                  <a:pt x="6729" y="4330"/>
                </a:lnTo>
                <a:lnTo>
                  <a:pt x="6729" y="4459"/>
                </a:lnTo>
                <a:lnTo>
                  <a:pt x="6357" y="4459"/>
                </a:lnTo>
                <a:lnTo>
                  <a:pt x="6357" y="4330"/>
                </a:lnTo>
                <a:close/>
                <a:moveTo>
                  <a:pt x="5950" y="4174"/>
                </a:moveTo>
                <a:lnTo>
                  <a:pt x="6324" y="4174"/>
                </a:lnTo>
                <a:lnTo>
                  <a:pt x="6324" y="4297"/>
                </a:lnTo>
                <a:lnTo>
                  <a:pt x="5950" y="4297"/>
                </a:lnTo>
                <a:lnTo>
                  <a:pt x="5950" y="4174"/>
                </a:lnTo>
                <a:close/>
                <a:moveTo>
                  <a:pt x="5950" y="4330"/>
                </a:moveTo>
                <a:lnTo>
                  <a:pt x="6324" y="4330"/>
                </a:lnTo>
                <a:lnTo>
                  <a:pt x="6324" y="4459"/>
                </a:lnTo>
                <a:lnTo>
                  <a:pt x="5950" y="4459"/>
                </a:lnTo>
                <a:lnTo>
                  <a:pt x="5950" y="4330"/>
                </a:lnTo>
                <a:close/>
                <a:moveTo>
                  <a:pt x="5654" y="4174"/>
                </a:moveTo>
                <a:lnTo>
                  <a:pt x="5917" y="4174"/>
                </a:lnTo>
                <a:lnTo>
                  <a:pt x="5917" y="4297"/>
                </a:lnTo>
                <a:lnTo>
                  <a:pt x="5654" y="4297"/>
                </a:lnTo>
                <a:lnTo>
                  <a:pt x="5654" y="4174"/>
                </a:lnTo>
                <a:close/>
                <a:moveTo>
                  <a:pt x="5654" y="4330"/>
                </a:moveTo>
                <a:lnTo>
                  <a:pt x="5917" y="4330"/>
                </a:lnTo>
                <a:lnTo>
                  <a:pt x="5917" y="4459"/>
                </a:lnTo>
                <a:lnTo>
                  <a:pt x="5654" y="4459"/>
                </a:lnTo>
                <a:lnTo>
                  <a:pt x="5654" y="4330"/>
                </a:lnTo>
                <a:close/>
                <a:moveTo>
                  <a:pt x="5654" y="4492"/>
                </a:moveTo>
                <a:lnTo>
                  <a:pt x="5917" y="4492"/>
                </a:lnTo>
                <a:lnTo>
                  <a:pt x="5917" y="4582"/>
                </a:lnTo>
                <a:lnTo>
                  <a:pt x="5654" y="4582"/>
                </a:lnTo>
                <a:lnTo>
                  <a:pt x="5654" y="4492"/>
                </a:lnTo>
                <a:close/>
                <a:moveTo>
                  <a:pt x="6052" y="5051"/>
                </a:moveTo>
                <a:lnTo>
                  <a:pt x="5896" y="5051"/>
                </a:lnTo>
                <a:lnTo>
                  <a:pt x="5896" y="4822"/>
                </a:lnTo>
                <a:lnTo>
                  <a:pt x="6052" y="4822"/>
                </a:lnTo>
                <a:lnTo>
                  <a:pt x="6052" y="5051"/>
                </a:lnTo>
                <a:close/>
                <a:moveTo>
                  <a:pt x="5950" y="4582"/>
                </a:moveTo>
                <a:lnTo>
                  <a:pt x="5950" y="4492"/>
                </a:lnTo>
                <a:lnTo>
                  <a:pt x="6324" y="4492"/>
                </a:lnTo>
                <a:lnTo>
                  <a:pt x="6324" y="4582"/>
                </a:lnTo>
                <a:lnTo>
                  <a:pt x="5950" y="4582"/>
                </a:lnTo>
                <a:close/>
                <a:moveTo>
                  <a:pt x="6338" y="5051"/>
                </a:moveTo>
                <a:lnTo>
                  <a:pt x="6181" y="5051"/>
                </a:lnTo>
                <a:lnTo>
                  <a:pt x="6181" y="4822"/>
                </a:lnTo>
                <a:lnTo>
                  <a:pt x="6338" y="4822"/>
                </a:lnTo>
                <a:lnTo>
                  <a:pt x="6338" y="5051"/>
                </a:lnTo>
                <a:close/>
                <a:moveTo>
                  <a:pt x="6357" y="4492"/>
                </a:moveTo>
                <a:lnTo>
                  <a:pt x="6729" y="4492"/>
                </a:lnTo>
                <a:lnTo>
                  <a:pt x="6729" y="4582"/>
                </a:lnTo>
                <a:lnTo>
                  <a:pt x="6357" y="4582"/>
                </a:lnTo>
                <a:lnTo>
                  <a:pt x="6357" y="4492"/>
                </a:lnTo>
                <a:close/>
                <a:moveTo>
                  <a:pt x="6840" y="5051"/>
                </a:moveTo>
                <a:lnTo>
                  <a:pt x="6684" y="5051"/>
                </a:lnTo>
                <a:lnTo>
                  <a:pt x="6684" y="4822"/>
                </a:lnTo>
                <a:lnTo>
                  <a:pt x="6840" y="4822"/>
                </a:lnTo>
                <a:lnTo>
                  <a:pt x="6840" y="5051"/>
                </a:lnTo>
                <a:close/>
                <a:moveTo>
                  <a:pt x="6869" y="4582"/>
                </a:moveTo>
                <a:lnTo>
                  <a:pt x="6762" y="4582"/>
                </a:lnTo>
                <a:lnTo>
                  <a:pt x="6762" y="4492"/>
                </a:lnTo>
                <a:lnTo>
                  <a:pt x="6869" y="4492"/>
                </a:lnTo>
                <a:lnTo>
                  <a:pt x="6869" y="4582"/>
                </a:lnTo>
                <a:close/>
                <a:moveTo>
                  <a:pt x="6869" y="4459"/>
                </a:moveTo>
                <a:lnTo>
                  <a:pt x="6762" y="4459"/>
                </a:lnTo>
                <a:lnTo>
                  <a:pt x="6762" y="4330"/>
                </a:lnTo>
                <a:lnTo>
                  <a:pt x="6869" y="4330"/>
                </a:lnTo>
                <a:lnTo>
                  <a:pt x="6869" y="4459"/>
                </a:lnTo>
                <a:close/>
                <a:moveTo>
                  <a:pt x="6869" y="4297"/>
                </a:moveTo>
                <a:lnTo>
                  <a:pt x="6762" y="4297"/>
                </a:lnTo>
                <a:lnTo>
                  <a:pt x="6762" y="4174"/>
                </a:lnTo>
                <a:lnTo>
                  <a:pt x="6869" y="4174"/>
                </a:lnTo>
                <a:lnTo>
                  <a:pt x="6869" y="4297"/>
                </a:lnTo>
                <a:close/>
                <a:moveTo>
                  <a:pt x="9166" y="4174"/>
                </a:moveTo>
                <a:lnTo>
                  <a:pt x="9166" y="4297"/>
                </a:lnTo>
                <a:lnTo>
                  <a:pt x="8777" y="4297"/>
                </a:lnTo>
                <a:lnTo>
                  <a:pt x="8777" y="4174"/>
                </a:lnTo>
                <a:lnTo>
                  <a:pt x="9166" y="4174"/>
                </a:lnTo>
                <a:close/>
                <a:moveTo>
                  <a:pt x="9166" y="4330"/>
                </a:moveTo>
                <a:lnTo>
                  <a:pt x="9166" y="4459"/>
                </a:lnTo>
                <a:lnTo>
                  <a:pt x="8777" y="4459"/>
                </a:lnTo>
                <a:lnTo>
                  <a:pt x="8777" y="4330"/>
                </a:lnTo>
                <a:lnTo>
                  <a:pt x="9166" y="4330"/>
                </a:lnTo>
                <a:close/>
                <a:moveTo>
                  <a:pt x="8427" y="2624"/>
                </a:moveTo>
                <a:lnTo>
                  <a:pt x="8680" y="2624"/>
                </a:lnTo>
                <a:lnTo>
                  <a:pt x="8680" y="2719"/>
                </a:lnTo>
                <a:lnTo>
                  <a:pt x="8427" y="2719"/>
                </a:lnTo>
                <a:lnTo>
                  <a:pt x="8427" y="2624"/>
                </a:lnTo>
                <a:close/>
                <a:moveTo>
                  <a:pt x="8427" y="2752"/>
                </a:moveTo>
                <a:lnTo>
                  <a:pt x="8680" y="2752"/>
                </a:lnTo>
                <a:lnTo>
                  <a:pt x="8681" y="2880"/>
                </a:lnTo>
                <a:lnTo>
                  <a:pt x="8427" y="2880"/>
                </a:lnTo>
                <a:lnTo>
                  <a:pt x="8427" y="2752"/>
                </a:lnTo>
                <a:close/>
                <a:moveTo>
                  <a:pt x="8427" y="2913"/>
                </a:moveTo>
                <a:lnTo>
                  <a:pt x="8546" y="2913"/>
                </a:lnTo>
                <a:lnTo>
                  <a:pt x="8427" y="2938"/>
                </a:lnTo>
                <a:lnTo>
                  <a:pt x="8427" y="2913"/>
                </a:lnTo>
                <a:close/>
                <a:moveTo>
                  <a:pt x="8105" y="2913"/>
                </a:moveTo>
                <a:lnTo>
                  <a:pt x="8082" y="2973"/>
                </a:lnTo>
                <a:lnTo>
                  <a:pt x="8046" y="2913"/>
                </a:lnTo>
                <a:lnTo>
                  <a:pt x="8105" y="2913"/>
                </a:lnTo>
                <a:close/>
                <a:moveTo>
                  <a:pt x="8027" y="2880"/>
                </a:moveTo>
                <a:lnTo>
                  <a:pt x="7950" y="2752"/>
                </a:lnTo>
                <a:lnTo>
                  <a:pt x="8165" y="2752"/>
                </a:lnTo>
                <a:lnTo>
                  <a:pt x="8118" y="2880"/>
                </a:lnTo>
                <a:lnTo>
                  <a:pt x="8027" y="2880"/>
                </a:lnTo>
                <a:close/>
                <a:moveTo>
                  <a:pt x="8184" y="2913"/>
                </a:moveTo>
                <a:lnTo>
                  <a:pt x="8241" y="2913"/>
                </a:lnTo>
                <a:lnTo>
                  <a:pt x="8241" y="2980"/>
                </a:lnTo>
                <a:lnTo>
                  <a:pt x="8192" y="2991"/>
                </a:lnTo>
                <a:lnTo>
                  <a:pt x="8156" y="2991"/>
                </a:lnTo>
                <a:lnTo>
                  <a:pt x="8184" y="2913"/>
                </a:lnTo>
                <a:close/>
                <a:moveTo>
                  <a:pt x="8196" y="2880"/>
                </a:moveTo>
                <a:lnTo>
                  <a:pt x="8241" y="2759"/>
                </a:lnTo>
                <a:lnTo>
                  <a:pt x="8241" y="2880"/>
                </a:lnTo>
                <a:lnTo>
                  <a:pt x="8196" y="2880"/>
                </a:lnTo>
                <a:close/>
                <a:moveTo>
                  <a:pt x="8213" y="2624"/>
                </a:moveTo>
                <a:lnTo>
                  <a:pt x="8178" y="2719"/>
                </a:lnTo>
                <a:lnTo>
                  <a:pt x="7929" y="2719"/>
                </a:lnTo>
                <a:lnTo>
                  <a:pt x="7872" y="2624"/>
                </a:lnTo>
                <a:lnTo>
                  <a:pt x="8213" y="2624"/>
                </a:lnTo>
                <a:close/>
                <a:moveTo>
                  <a:pt x="7450" y="2187"/>
                </a:moveTo>
                <a:lnTo>
                  <a:pt x="7522" y="2187"/>
                </a:lnTo>
                <a:lnTo>
                  <a:pt x="7770" y="2591"/>
                </a:lnTo>
                <a:lnTo>
                  <a:pt x="7450" y="2591"/>
                </a:lnTo>
                <a:lnTo>
                  <a:pt x="7450" y="2187"/>
                </a:lnTo>
                <a:close/>
                <a:moveTo>
                  <a:pt x="7450" y="2624"/>
                </a:moveTo>
                <a:lnTo>
                  <a:pt x="7791" y="2624"/>
                </a:lnTo>
                <a:lnTo>
                  <a:pt x="7849" y="2719"/>
                </a:lnTo>
                <a:lnTo>
                  <a:pt x="7450" y="2719"/>
                </a:lnTo>
                <a:lnTo>
                  <a:pt x="7450" y="2624"/>
                </a:lnTo>
                <a:close/>
                <a:moveTo>
                  <a:pt x="7450" y="2752"/>
                </a:moveTo>
                <a:lnTo>
                  <a:pt x="7869" y="2752"/>
                </a:lnTo>
                <a:lnTo>
                  <a:pt x="7947" y="2880"/>
                </a:lnTo>
                <a:lnTo>
                  <a:pt x="7450" y="2880"/>
                </a:lnTo>
                <a:lnTo>
                  <a:pt x="7450" y="2752"/>
                </a:lnTo>
                <a:close/>
                <a:moveTo>
                  <a:pt x="7450" y="2913"/>
                </a:moveTo>
                <a:lnTo>
                  <a:pt x="7968" y="2913"/>
                </a:lnTo>
                <a:lnTo>
                  <a:pt x="8015" y="2988"/>
                </a:lnTo>
                <a:lnTo>
                  <a:pt x="7450" y="2980"/>
                </a:lnTo>
                <a:lnTo>
                  <a:pt x="7450" y="2913"/>
                </a:lnTo>
                <a:close/>
                <a:moveTo>
                  <a:pt x="6881" y="2624"/>
                </a:moveTo>
                <a:lnTo>
                  <a:pt x="7313" y="2624"/>
                </a:lnTo>
                <a:lnTo>
                  <a:pt x="7313" y="2719"/>
                </a:lnTo>
                <a:lnTo>
                  <a:pt x="6881" y="2719"/>
                </a:lnTo>
                <a:lnTo>
                  <a:pt x="6881" y="2624"/>
                </a:lnTo>
                <a:close/>
                <a:moveTo>
                  <a:pt x="6881" y="2752"/>
                </a:moveTo>
                <a:lnTo>
                  <a:pt x="7313" y="2752"/>
                </a:lnTo>
                <a:lnTo>
                  <a:pt x="7313" y="2880"/>
                </a:lnTo>
                <a:lnTo>
                  <a:pt x="6881" y="2880"/>
                </a:lnTo>
                <a:lnTo>
                  <a:pt x="6881" y="2752"/>
                </a:lnTo>
                <a:close/>
                <a:moveTo>
                  <a:pt x="6881" y="2913"/>
                </a:moveTo>
                <a:lnTo>
                  <a:pt x="7313" y="2913"/>
                </a:lnTo>
                <a:lnTo>
                  <a:pt x="7313" y="2979"/>
                </a:lnTo>
                <a:lnTo>
                  <a:pt x="6881" y="2973"/>
                </a:lnTo>
                <a:lnTo>
                  <a:pt x="6881" y="2913"/>
                </a:lnTo>
                <a:close/>
                <a:moveTo>
                  <a:pt x="6244" y="3339"/>
                </a:moveTo>
                <a:lnTo>
                  <a:pt x="6295" y="3343"/>
                </a:lnTo>
                <a:lnTo>
                  <a:pt x="6737" y="3572"/>
                </a:lnTo>
                <a:lnTo>
                  <a:pt x="6755" y="3635"/>
                </a:lnTo>
                <a:lnTo>
                  <a:pt x="6244" y="3339"/>
                </a:lnTo>
                <a:close/>
                <a:moveTo>
                  <a:pt x="6865" y="3822"/>
                </a:moveTo>
                <a:lnTo>
                  <a:pt x="6684" y="3225"/>
                </a:lnTo>
                <a:lnTo>
                  <a:pt x="6949" y="3225"/>
                </a:lnTo>
                <a:lnTo>
                  <a:pt x="7105" y="3822"/>
                </a:lnTo>
                <a:lnTo>
                  <a:pt x="6865" y="3822"/>
                </a:lnTo>
                <a:close/>
                <a:moveTo>
                  <a:pt x="7126" y="5051"/>
                </a:moveTo>
                <a:lnTo>
                  <a:pt x="6971" y="5051"/>
                </a:lnTo>
                <a:lnTo>
                  <a:pt x="6971" y="4822"/>
                </a:lnTo>
                <a:lnTo>
                  <a:pt x="7126" y="4822"/>
                </a:lnTo>
                <a:lnTo>
                  <a:pt x="7126" y="5051"/>
                </a:lnTo>
                <a:close/>
                <a:moveTo>
                  <a:pt x="7503" y="3917"/>
                </a:moveTo>
                <a:lnTo>
                  <a:pt x="7181" y="3917"/>
                </a:lnTo>
                <a:lnTo>
                  <a:pt x="7001" y="3225"/>
                </a:lnTo>
                <a:lnTo>
                  <a:pt x="7503" y="3225"/>
                </a:lnTo>
                <a:lnTo>
                  <a:pt x="7503" y="3917"/>
                </a:lnTo>
                <a:close/>
                <a:moveTo>
                  <a:pt x="7734" y="5051"/>
                </a:moveTo>
                <a:lnTo>
                  <a:pt x="7578" y="5051"/>
                </a:lnTo>
                <a:lnTo>
                  <a:pt x="7578" y="4822"/>
                </a:lnTo>
                <a:lnTo>
                  <a:pt x="7734" y="4822"/>
                </a:lnTo>
                <a:lnTo>
                  <a:pt x="7734" y="5051"/>
                </a:lnTo>
                <a:close/>
                <a:moveTo>
                  <a:pt x="8019" y="5051"/>
                </a:moveTo>
                <a:lnTo>
                  <a:pt x="7863" y="5051"/>
                </a:lnTo>
                <a:lnTo>
                  <a:pt x="7863" y="4822"/>
                </a:lnTo>
                <a:lnTo>
                  <a:pt x="8019" y="4822"/>
                </a:lnTo>
                <a:lnTo>
                  <a:pt x="8019" y="5051"/>
                </a:lnTo>
                <a:close/>
                <a:moveTo>
                  <a:pt x="8082" y="3935"/>
                </a:moveTo>
                <a:lnTo>
                  <a:pt x="7816" y="3935"/>
                </a:lnTo>
                <a:lnTo>
                  <a:pt x="7816" y="3210"/>
                </a:lnTo>
                <a:lnTo>
                  <a:pt x="8082" y="3210"/>
                </a:lnTo>
                <a:lnTo>
                  <a:pt x="8082" y="3935"/>
                </a:lnTo>
                <a:close/>
                <a:moveTo>
                  <a:pt x="8162" y="3917"/>
                </a:moveTo>
                <a:lnTo>
                  <a:pt x="8162" y="3225"/>
                </a:lnTo>
                <a:lnTo>
                  <a:pt x="8662" y="3225"/>
                </a:lnTo>
                <a:lnTo>
                  <a:pt x="8482" y="3917"/>
                </a:lnTo>
                <a:lnTo>
                  <a:pt x="8162" y="3917"/>
                </a:lnTo>
                <a:close/>
                <a:moveTo>
                  <a:pt x="8714" y="3225"/>
                </a:moveTo>
                <a:lnTo>
                  <a:pt x="8979" y="3225"/>
                </a:lnTo>
                <a:lnTo>
                  <a:pt x="8798" y="3822"/>
                </a:lnTo>
                <a:lnTo>
                  <a:pt x="8558" y="3822"/>
                </a:lnTo>
                <a:lnTo>
                  <a:pt x="8714" y="3225"/>
                </a:lnTo>
                <a:close/>
                <a:moveTo>
                  <a:pt x="8777" y="4492"/>
                </a:moveTo>
                <a:lnTo>
                  <a:pt x="9166" y="4492"/>
                </a:lnTo>
                <a:lnTo>
                  <a:pt x="9166" y="4582"/>
                </a:lnTo>
                <a:lnTo>
                  <a:pt x="8777" y="4582"/>
                </a:lnTo>
                <a:lnTo>
                  <a:pt x="8777" y="4492"/>
                </a:lnTo>
                <a:close/>
                <a:moveTo>
                  <a:pt x="9207" y="5051"/>
                </a:moveTo>
                <a:lnTo>
                  <a:pt x="9051" y="5051"/>
                </a:lnTo>
                <a:lnTo>
                  <a:pt x="9051" y="4822"/>
                </a:lnTo>
                <a:lnTo>
                  <a:pt x="9207" y="4822"/>
                </a:lnTo>
                <a:lnTo>
                  <a:pt x="9207" y="5051"/>
                </a:lnTo>
                <a:close/>
                <a:moveTo>
                  <a:pt x="9493" y="5051"/>
                </a:moveTo>
                <a:lnTo>
                  <a:pt x="9337" y="5051"/>
                </a:lnTo>
                <a:lnTo>
                  <a:pt x="9337" y="4822"/>
                </a:lnTo>
                <a:lnTo>
                  <a:pt x="9493" y="4822"/>
                </a:lnTo>
                <a:lnTo>
                  <a:pt x="9493" y="5051"/>
                </a:lnTo>
                <a:close/>
                <a:moveTo>
                  <a:pt x="9573" y="4582"/>
                </a:moveTo>
                <a:lnTo>
                  <a:pt x="9201" y="4582"/>
                </a:lnTo>
                <a:lnTo>
                  <a:pt x="9201" y="4492"/>
                </a:lnTo>
                <a:lnTo>
                  <a:pt x="9573" y="4492"/>
                </a:lnTo>
                <a:lnTo>
                  <a:pt x="9573" y="4582"/>
                </a:lnTo>
                <a:close/>
                <a:moveTo>
                  <a:pt x="9573" y="4459"/>
                </a:moveTo>
                <a:lnTo>
                  <a:pt x="9201" y="4459"/>
                </a:lnTo>
                <a:lnTo>
                  <a:pt x="9201" y="4330"/>
                </a:lnTo>
                <a:lnTo>
                  <a:pt x="9573" y="4330"/>
                </a:lnTo>
                <a:lnTo>
                  <a:pt x="9573" y="4459"/>
                </a:lnTo>
                <a:close/>
                <a:moveTo>
                  <a:pt x="9573" y="4297"/>
                </a:moveTo>
                <a:lnTo>
                  <a:pt x="9201" y="4297"/>
                </a:lnTo>
                <a:lnTo>
                  <a:pt x="9201" y="4174"/>
                </a:lnTo>
                <a:lnTo>
                  <a:pt x="9573" y="4174"/>
                </a:lnTo>
                <a:lnTo>
                  <a:pt x="9573" y="4297"/>
                </a:lnTo>
                <a:close/>
                <a:moveTo>
                  <a:pt x="9977" y="4738"/>
                </a:moveTo>
                <a:lnTo>
                  <a:pt x="9908" y="4743"/>
                </a:lnTo>
                <a:lnTo>
                  <a:pt x="9908" y="4737"/>
                </a:lnTo>
                <a:lnTo>
                  <a:pt x="9908" y="4582"/>
                </a:lnTo>
                <a:lnTo>
                  <a:pt x="9606" y="4582"/>
                </a:lnTo>
                <a:lnTo>
                  <a:pt x="9606" y="4492"/>
                </a:lnTo>
                <a:lnTo>
                  <a:pt x="9977" y="4492"/>
                </a:lnTo>
                <a:lnTo>
                  <a:pt x="9977" y="4738"/>
                </a:lnTo>
                <a:close/>
                <a:moveTo>
                  <a:pt x="9977" y="4459"/>
                </a:moveTo>
                <a:lnTo>
                  <a:pt x="9606" y="4459"/>
                </a:lnTo>
                <a:lnTo>
                  <a:pt x="9606" y="4330"/>
                </a:lnTo>
                <a:lnTo>
                  <a:pt x="9977" y="4330"/>
                </a:lnTo>
                <a:lnTo>
                  <a:pt x="9977" y="4459"/>
                </a:lnTo>
                <a:close/>
                <a:moveTo>
                  <a:pt x="9977" y="4297"/>
                </a:moveTo>
                <a:lnTo>
                  <a:pt x="9606" y="4297"/>
                </a:lnTo>
                <a:lnTo>
                  <a:pt x="9606" y="4174"/>
                </a:lnTo>
                <a:lnTo>
                  <a:pt x="9977" y="4174"/>
                </a:lnTo>
                <a:lnTo>
                  <a:pt x="9977" y="4297"/>
                </a:lnTo>
                <a:close/>
              </a:path>
            </a:pathLst>
          </a:custGeom>
          <a:solidFill>
            <a:srgbClr val="004E6B"/>
          </a:solidFill>
          <a:ln>
            <a:noFill/>
          </a:ln>
          <a:effectLst>
            <a:reflection blurRad="6350" stA="52000" endA="300" endPos="3500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
        <p:nvSpPr>
          <p:cNvPr id="200" name="Freeform 9"/>
          <p:cNvSpPr>
            <a:spLocks noEditPoints="1"/>
          </p:cNvSpPr>
          <p:nvPr/>
        </p:nvSpPr>
        <p:spPr bwMode="auto">
          <a:xfrm>
            <a:off x="10583931" y="4743543"/>
            <a:ext cx="898180" cy="355036"/>
          </a:xfrm>
          <a:custGeom>
            <a:avLst/>
            <a:gdLst/>
            <a:ahLst/>
            <a:cxnLst>
              <a:cxn ang="0">
                <a:pos x="2176" y="657"/>
              </a:cxn>
              <a:cxn ang="0">
                <a:pos x="2127" y="539"/>
              </a:cxn>
              <a:cxn ang="0">
                <a:pos x="1631" y="484"/>
              </a:cxn>
              <a:cxn ang="0">
                <a:pos x="1603" y="463"/>
              </a:cxn>
              <a:cxn ang="0">
                <a:pos x="1506" y="287"/>
              </a:cxn>
              <a:cxn ang="0">
                <a:pos x="1319" y="158"/>
              </a:cxn>
              <a:cxn ang="0">
                <a:pos x="1335" y="85"/>
              </a:cxn>
              <a:cxn ang="0">
                <a:pos x="1308" y="37"/>
              </a:cxn>
              <a:cxn ang="0">
                <a:pos x="1258" y="269"/>
              </a:cxn>
              <a:cxn ang="0">
                <a:pos x="1210" y="269"/>
              </a:cxn>
              <a:cxn ang="0">
                <a:pos x="1187" y="269"/>
              </a:cxn>
              <a:cxn ang="0">
                <a:pos x="1098" y="269"/>
              </a:cxn>
              <a:cxn ang="0">
                <a:pos x="1121" y="342"/>
              </a:cxn>
              <a:cxn ang="0">
                <a:pos x="973" y="765"/>
              </a:cxn>
              <a:cxn ang="0">
                <a:pos x="907" y="621"/>
              </a:cxn>
              <a:cxn ang="0">
                <a:pos x="807" y="482"/>
              </a:cxn>
              <a:cxn ang="0">
                <a:pos x="459" y="340"/>
              </a:cxn>
              <a:cxn ang="0">
                <a:pos x="318" y="306"/>
              </a:cxn>
              <a:cxn ang="0">
                <a:pos x="835" y="432"/>
              </a:cxn>
              <a:cxn ang="0">
                <a:pos x="825" y="461"/>
              </a:cxn>
              <a:cxn ang="0">
                <a:pos x="853" y="482"/>
              </a:cxn>
              <a:cxn ang="0">
                <a:pos x="878" y="466"/>
              </a:cxn>
              <a:cxn ang="0">
                <a:pos x="875" y="438"/>
              </a:cxn>
              <a:cxn ang="0">
                <a:pos x="300" y="290"/>
              </a:cxn>
              <a:cxn ang="0">
                <a:pos x="284" y="301"/>
              </a:cxn>
              <a:cxn ang="0">
                <a:pos x="262" y="358"/>
              </a:cxn>
              <a:cxn ang="0">
                <a:pos x="262" y="402"/>
              </a:cxn>
              <a:cxn ang="0">
                <a:pos x="268" y="397"/>
              </a:cxn>
              <a:cxn ang="0">
                <a:pos x="275" y="361"/>
              </a:cxn>
              <a:cxn ang="0">
                <a:pos x="644" y="765"/>
              </a:cxn>
              <a:cxn ang="0">
                <a:pos x="543" y="765"/>
              </a:cxn>
              <a:cxn ang="0">
                <a:pos x="203" y="628"/>
              </a:cxn>
              <a:cxn ang="0">
                <a:pos x="328" y="698"/>
              </a:cxn>
              <a:cxn ang="0">
                <a:pos x="227" y="719"/>
              </a:cxn>
              <a:cxn ang="0">
                <a:pos x="655" y="491"/>
              </a:cxn>
              <a:cxn ang="0">
                <a:pos x="2190" y="520"/>
              </a:cxn>
              <a:cxn ang="0">
                <a:pos x="2119" y="569"/>
              </a:cxn>
              <a:cxn ang="0">
                <a:pos x="2119" y="530"/>
              </a:cxn>
              <a:cxn ang="0">
                <a:pos x="2017" y="569"/>
              </a:cxn>
              <a:cxn ang="0">
                <a:pos x="2017" y="530"/>
              </a:cxn>
              <a:cxn ang="0">
                <a:pos x="1820" y="500"/>
              </a:cxn>
              <a:cxn ang="0">
                <a:pos x="1719" y="500"/>
              </a:cxn>
              <a:cxn ang="0">
                <a:pos x="1653" y="500"/>
              </a:cxn>
              <a:cxn ang="0">
                <a:pos x="1333" y="219"/>
              </a:cxn>
              <a:cxn ang="0">
                <a:pos x="1333" y="219"/>
              </a:cxn>
              <a:cxn ang="0">
                <a:pos x="1326" y="121"/>
              </a:cxn>
              <a:cxn ang="0">
                <a:pos x="1267" y="130"/>
              </a:cxn>
              <a:cxn ang="0">
                <a:pos x="1267" y="130"/>
              </a:cxn>
              <a:cxn ang="0">
                <a:pos x="1267" y="85"/>
              </a:cxn>
              <a:cxn ang="0">
                <a:pos x="1267" y="37"/>
              </a:cxn>
              <a:cxn ang="0">
                <a:pos x="1267" y="9"/>
              </a:cxn>
              <a:cxn ang="0">
                <a:pos x="1130" y="342"/>
              </a:cxn>
              <a:cxn ang="0">
                <a:pos x="396" y="635"/>
              </a:cxn>
              <a:cxn ang="0">
                <a:pos x="378" y="765"/>
              </a:cxn>
            </a:cxnLst>
            <a:rect l="0" t="0" r="r" b="b"/>
            <a:pathLst>
              <a:path w="2206" h="872">
                <a:moveTo>
                  <a:pt x="0" y="765"/>
                </a:moveTo>
                <a:lnTo>
                  <a:pt x="0" y="785"/>
                </a:lnTo>
                <a:lnTo>
                  <a:pt x="146" y="872"/>
                </a:lnTo>
                <a:lnTo>
                  <a:pt x="1958" y="872"/>
                </a:lnTo>
                <a:lnTo>
                  <a:pt x="2176" y="657"/>
                </a:lnTo>
                <a:lnTo>
                  <a:pt x="2176" y="602"/>
                </a:lnTo>
                <a:lnTo>
                  <a:pt x="2160" y="569"/>
                </a:lnTo>
                <a:lnTo>
                  <a:pt x="2127" y="569"/>
                </a:lnTo>
                <a:lnTo>
                  <a:pt x="2127" y="541"/>
                </a:lnTo>
                <a:lnTo>
                  <a:pt x="2127" y="539"/>
                </a:lnTo>
                <a:lnTo>
                  <a:pt x="2199" y="527"/>
                </a:lnTo>
                <a:lnTo>
                  <a:pt x="2199" y="500"/>
                </a:lnTo>
                <a:lnTo>
                  <a:pt x="2206" y="500"/>
                </a:lnTo>
                <a:lnTo>
                  <a:pt x="2206" y="484"/>
                </a:lnTo>
                <a:lnTo>
                  <a:pt x="1631" y="484"/>
                </a:lnTo>
                <a:lnTo>
                  <a:pt x="1631" y="500"/>
                </a:lnTo>
                <a:lnTo>
                  <a:pt x="1644" y="500"/>
                </a:lnTo>
                <a:lnTo>
                  <a:pt x="1644" y="530"/>
                </a:lnTo>
                <a:lnTo>
                  <a:pt x="1603" y="530"/>
                </a:lnTo>
                <a:lnTo>
                  <a:pt x="1603" y="463"/>
                </a:lnTo>
                <a:lnTo>
                  <a:pt x="1560" y="463"/>
                </a:lnTo>
                <a:lnTo>
                  <a:pt x="1560" y="530"/>
                </a:lnTo>
                <a:lnTo>
                  <a:pt x="1522" y="530"/>
                </a:lnTo>
                <a:lnTo>
                  <a:pt x="1494" y="329"/>
                </a:lnTo>
                <a:lnTo>
                  <a:pt x="1506" y="287"/>
                </a:lnTo>
                <a:lnTo>
                  <a:pt x="1506" y="269"/>
                </a:lnTo>
                <a:lnTo>
                  <a:pt x="1353" y="269"/>
                </a:lnTo>
                <a:lnTo>
                  <a:pt x="1405" y="194"/>
                </a:lnTo>
                <a:lnTo>
                  <a:pt x="1328" y="194"/>
                </a:lnTo>
                <a:lnTo>
                  <a:pt x="1319" y="158"/>
                </a:lnTo>
                <a:lnTo>
                  <a:pt x="1333" y="130"/>
                </a:lnTo>
                <a:lnTo>
                  <a:pt x="1351" y="130"/>
                </a:lnTo>
                <a:lnTo>
                  <a:pt x="1351" y="121"/>
                </a:lnTo>
                <a:lnTo>
                  <a:pt x="1335" y="121"/>
                </a:lnTo>
                <a:lnTo>
                  <a:pt x="1335" y="85"/>
                </a:lnTo>
                <a:lnTo>
                  <a:pt x="1351" y="85"/>
                </a:lnTo>
                <a:lnTo>
                  <a:pt x="1351" y="77"/>
                </a:lnTo>
                <a:lnTo>
                  <a:pt x="1301" y="77"/>
                </a:lnTo>
                <a:lnTo>
                  <a:pt x="1290" y="37"/>
                </a:lnTo>
                <a:lnTo>
                  <a:pt x="1308" y="37"/>
                </a:lnTo>
                <a:lnTo>
                  <a:pt x="1308" y="27"/>
                </a:lnTo>
                <a:lnTo>
                  <a:pt x="1289" y="27"/>
                </a:lnTo>
                <a:lnTo>
                  <a:pt x="1283" y="0"/>
                </a:lnTo>
                <a:lnTo>
                  <a:pt x="1258" y="0"/>
                </a:lnTo>
                <a:lnTo>
                  <a:pt x="1258" y="269"/>
                </a:lnTo>
                <a:lnTo>
                  <a:pt x="1226" y="269"/>
                </a:lnTo>
                <a:lnTo>
                  <a:pt x="1226" y="189"/>
                </a:lnTo>
                <a:lnTo>
                  <a:pt x="1215" y="189"/>
                </a:lnTo>
                <a:lnTo>
                  <a:pt x="1210" y="212"/>
                </a:lnTo>
                <a:lnTo>
                  <a:pt x="1210" y="269"/>
                </a:lnTo>
                <a:lnTo>
                  <a:pt x="1201" y="269"/>
                </a:lnTo>
                <a:lnTo>
                  <a:pt x="1201" y="214"/>
                </a:lnTo>
                <a:lnTo>
                  <a:pt x="1192" y="214"/>
                </a:lnTo>
                <a:lnTo>
                  <a:pt x="1187" y="224"/>
                </a:lnTo>
                <a:lnTo>
                  <a:pt x="1187" y="269"/>
                </a:lnTo>
                <a:lnTo>
                  <a:pt x="1182" y="269"/>
                </a:lnTo>
                <a:lnTo>
                  <a:pt x="1182" y="238"/>
                </a:lnTo>
                <a:lnTo>
                  <a:pt x="1167" y="238"/>
                </a:lnTo>
                <a:lnTo>
                  <a:pt x="1167" y="269"/>
                </a:lnTo>
                <a:lnTo>
                  <a:pt x="1098" y="269"/>
                </a:lnTo>
                <a:lnTo>
                  <a:pt x="1098" y="285"/>
                </a:lnTo>
                <a:lnTo>
                  <a:pt x="1121" y="327"/>
                </a:lnTo>
                <a:lnTo>
                  <a:pt x="1082" y="327"/>
                </a:lnTo>
                <a:lnTo>
                  <a:pt x="1082" y="342"/>
                </a:lnTo>
                <a:lnTo>
                  <a:pt x="1121" y="342"/>
                </a:lnTo>
                <a:lnTo>
                  <a:pt x="1121" y="447"/>
                </a:lnTo>
                <a:lnTo>
                  <a:pt x="1098" y="447"/>
                </a:lnTo>
                <a:lnTo>
                  <a:pt x="1098" y="699"/>
                </a:lnTo>
                <a:lnTo>
                  <a:pt x="1046" y="699"/>
                </a:lnTo>
                <a:lnTo>
                  <a:pt x="973" y="765"/>
                </a:lnTo>
                <a:lnTo>
                  <a:pt x="833" y="765"/>
                </a:lnTo>
                <a:lnTo>
                  <a:pt x="833" y="712"/>
                </a:lnTo>
                <a:lnTo>
                  <a:pt x="853" y="712"/>
                </a:lnTo>
                <a:lnTo>
                  <a:pt x="853" y="621"/>
                </a:lnTo>
                <a:lnTo>
                  <a:pt x="907" y="621"/>
                </a:lnTo>
                <a:lnTo>
                  <a:pt x="907" y="454"/>
                </a:lnTo>
                <a:lnTo>
                  <a:pt x="880" y="454"/>
                </a:lnTo>
                <a:lnTo>
                  <a:pt x="880" y="482"/>
                </a:lnTo>
                <a:lnTo>
                  <a:pt x="853" y="482"/>
                </a:lnTo>
                <a:lnTo>
                  <a:pt x="807" y="482"/>
                </a:lnTo>
                <a:lnTo>
                  <a:pt x="789" y="466"/>
                </a:lnTo>
                <a:lnTo>
                  <a:pt x="480" y="365"/>
                </a:lnTo>
                <a:lnTo>
                  <a:pt x="480" y="365"/>
                </a:lnTo>
                <a:lnTo>
                  <a:pt x="480" y="345"/>
                </a:lnTo>
                <a:lnTo>
                  <a:pt x="459" y="340"/>
                </a:lnTo>
                <a:lnTo>
                  <a:pt x="446" y="354"/>
                </a:lnTo>
                <a:lnTo>
                  <a:pt x="318" y="311"/>
                </a:lnTo>
                <a:lnTo>
                  <a:pt x="318" y="311"/>
                </a:lnTo>
                <a:lnTo>
                  <a:pt x="318" y="306"/>
                </a:lnTo>
                <a:lnTo>
                  <a:pt x="318" y="306"/>
                </a:lnTo>
                <a:lnTo>
                  <a:pt x="318" y="303"/>
                </a:lnTo>
                <a:lnTo>
                  <a:pt x="316" y="297"/>
                </a:lnTo>
                <a:lnTo>
                  <a:pt x="844" y="427"/>
                </a:lnTo>
                <a:lnTo>
                  <a:pt x="844" y="427"/>
                </a:lnTo>
                <a:lnTo>
                  <a:pt x="835" y="432"/>
                </a:lnTo>
                <a:lnTo>
                  <a:pt x="830" y="438"/>
                </a:lnTo>
                <a:lnTo>
                  <a:pt x="826" y="445"/>
                </a:lnTo>
                <a:lnTo>
                  <a:pt x="825" y="454"/>
                </a:lnTo>
                <a:lnTo>
                  <a:pt x="825" y="454"/>
                </a:lnTo>
                <a:lnTo>
                  <a:pt x="825" y="461"/>
                </a:lnTo>
                <a:lnTo>
                  <a:pt x="826" y="466"/>
                </a:lnTo>
                <a:lnTo>
                  <a:pt x="832" y="475"/>
                </a:lnTo>
                <a:lnTo>
                  <a:pt x="841" y="480"/>
                </a:lnTo>
                <a:lnTo>
                  <a:pt x="846" y="482"/>
                </a:lnTo>
                <a:lnTo>
                  <a:pt x="853" y="482"/>
                </a:lnTo>
                <a:lnTo>
                  <a:pt x="853" y="482"/>
                </a:lnTo>
                <a:lnTo>
                  <a:pt x="858" y="482"/>
                </a:lnTo>
                <a:lnTo>
                  <a:pt x="864" y="480"/>
                </a:lnTo>
                <a:lnTo>
                  <a:pt x="873" y="475"/>
                </a:lnTo>
                <a:lnTo>
                  <a:pt x="878" y="466"/>
                </a:lnTo>
                <a:lnTo>
                  <a:pt x="880" y="461"/>
                </a:lnTo>
                <a:lnTo>
                  <a:pt x="880" y="454"/>
                </a:lnTo>
                <a:lnTo>
                  <a:pt x="880" y="454"/>
                </a:lnTo>
                <a:lnTo>
                  <a:pt x="880" y="445"/>
                </a:lnTo>
                <a:lnTo>
                  <a:pt x="875" y="438"/>
                </a:lnTo>
                <a:lnTo>
                  <a:pt x="869" y="432"/>
                </a:lnTo>
                <a:lnTo>
                  <a:pt x="860" y="427"/>
                </a:lnTo>
                <a:lnTo>
                  <a:pt x="307" y="290"/>
                </a:lnTo>
                <a:lnTo>
                  <a:pt x="307" y="290"/>
                </a:lnTo>
                <a:lnTo>
                  <a:pt x="300" y="290"/>
                </a:lnTo>
                <a:lnTo>
                  <a:pt x="300" y="290"/>
                </a:lnTo>
                <a:lnTo>
                  <a:pt x="294" y="290"/>
                </a:lnTo>
                <a:lnTo>
                  <a:pt x="291" y="292"/>
                </a:lnTo>
                <a:lnTo>
                  <a:pt x="286" y="297"/>
                </a:lnTo>
                <a:lnTo>
                  <a:pt x="284" y="301"/>
                </a:lnTo>
                <a:lnTo>
                  <a:pt x="282" y="301"/>
                </a:lnTo>
                <a:lnTo>
                  <a:pt x="250" y="345"/>
                </a:lnTo>
                <a:lnTo>
                  <a:pt x="262" y="354"/>
                </a:lnTo>
                <a:lnTo>
                  <a:pt x="262" y="358"/>
                </a:lnTo>
                <a:lnTo>
                  <a:pt x="262" y="358"/>
                </a:lnTo>
                <a:lnTo>
                  <a:pt x="261" y="372"/>
                </a:lnTo>
                <a:lnTo>
                  <a:pt x="261" y="383"/>
                </a:lnTo>
                <a:lnTo>
                  <a:pt x="261" y="392"/>
                </a:lnTo>
                <a:lnTo>
                  <a:pt x="262" y="399"/>
                </a:lnTo>
                <a:lnTo>
                  <a:pt x="262" y="402"/>
                </a:lnTo>
                <a:lnTo>
                  <a:pt x="243" y="557"/>
                </a:lnTo>
                <a:lnTo>
                  <a:pt x="246" y="557"/>
                </a:lnTo>
                <a:lnTo>
                  <a:pt x="268" y="402"/>
                </a:lnTo>
                <a:lnTo>
                  <a:pt x="268" y="397"/>
                </a:lnTo>
                <a:lnTo>
                  <a:pt x="268" y="397"/>
                </a:lnTo>
                <a:lnTo>
                  <a:pt x="270" y="386"/>
                </a:lnTo>
                <a:lnTo>
                  <a:pt x="270" y="375"/>
                </a:lnTo>
                <a:lnTo>
                  <a:pt x="268" y="359"/>
                </a:lnTo>
                <a:lnTo>
                  <a:pt x="268" y="356"/>
                </a:lnTo>
                <a:lnTo>
                  <a:pt x="275" y="361"/>
                </a:lnTo>
                <a:lnTo>
                  <a:pt x="298" y="342"/>
                </a:lnTo>
                <a:lnTo>
                  <a:pt x="767" y="568"/>
                </a:lnTo>
                <a:lnTo>
                  <a:pt x="767" y="703"/>
                </a:lnTo>
                <a:lnTo>
                  <a:pt x="644" y="703"/>
                </a:lnTo>
                <a:lnTo>
                  <a:pt x="644" y="765"/>
                </a:lnTo>
                <a:lnTo>
                  <a:pt x="628" y="765"/>
                </a:lnTo>
                <a:lnTo>
                  <a:pt x="628" y="715"/>
                </a:lnTo>
                <a:lnTo>
                  <a:pt x="560" y="715"/>
                </a:lnTo>
                <a:lnTo>
                  <a:pt x="560" y="765"/>
                </a:lnTo>
                <a:lnTo>
                  <a:pt x="543" y="765"/>
                </a:lnTo>
                <a:lnTo>
                  <a:pt x="543" y="703"/>
                </a:lnTo>
                <a:lnTo>
                  <a:pt x="521" y="703"/>
                </a:lnTo>
                <a:lnTo>
                  <a:pt x="521" y="635"/>
                </a:lnTo>
                <a:lnTo>
                  <a:pt x="405" y="593"/>
                </a:lnTo>
                <a:lnTo>
                  <a:pt x="203" y="628"/>
                </a:lnTo>
                <a:lnTo>
                  <a:pt x="203" y="664"/>
                </a:lnTo>
                <a:lnTo>
                  <a:pt x="203" y="674"/>
                </a:lnTo>
                <a:lnTo>
                  <a:pt x="203" y="687"/>
                </a:lnTo>
                <a:lnTo>
                  <a:pt x="250" y="687"/>
                </a:lnTo>
                <a:lnTo>
                  <a:pt x="328" y="698"/>
                </a:lnTo>
                <a:lnTo>
                  <a:pt x="328" y="708"/>
                </a:lnTo>
                <a:lnTo>
                  <a:pt x="302" y="708"/>
                </a:lnTo>
                <a:lnTo>
                  <a:pt x="302" y="765"/>
                </a:lnTo>
                <a:lnTo>
                  <a:pt x="227" y="765"/>
                </a:lnTo>
                <a:lnTo>
                  <a:pt x="227" y="719"/>
                </a:lnTo>
                <a:lnTo>
                  <a:pt x="212" y="719"/>
                </a:lnTo>
                <a:lnTo>
                  <a:pt x="212" y="765"/>
                </a:lnTo>
                <a:lnTo>
                  <a:pt x="0" y="765"/>
                </a:lnTo>
                <a:close/>
                <a:moveTo>
                  <a:pt x="767" y="546"/>
                </a:moveTo>
                <a:lnTo>
                  <a:pt x="655" y="491"/>
                </a:lnTo>
                <a:lnTo>
                  <a:pt x="767" y="491"/>
                </a:lnTo>
                <a:lnTo>
                  <a:pt x="767" y="546"/>
                </a:lnTo>
                <a:close/>
                <a:moveTo>
                  <a:pt x="2127" y="500"/>
                </a:moveTo>
                <a:lnTo>
                  <a:pt x="2190" y="500"/>
                </a:lnTo>
                <a:lnTo>
                  <a:pt x="2190" y="520"/>
                </a:lnTo>
                <a:lnTo>
                  <a:pt x="2127" y="530"/>
                </a:lnTo>
                <a:lnTo>
                  <a:pt x="2127" y="500"/>
                </a:lnTo>
                <a:close/>
                <a:moveTo>
                  <a:pt x="2026" y="541"/>
                </a:moveTo>
                <a:lnTo>
                  <a:pt x="2119" y="541"/>
                </a:lnTo>
                <a:lnTo>
                  <a:pt x="2119" y="569"/>
                </a:lnTo>
                <a:lnTo>
                  <a:pt x="2026" y="569"/>
                </a:lnTo>
                <a:lnTo>
                  <a:pt x="2026" y="541"/>
                </a:lnTo>
                <a:close/>
                <a:moveTo>
                  <a:pt x="2026" y="500"/>
                </a:moveTo>
                <a:lnTo>
                  <a:pt x="2119" y="500"/>
                </a:lnTo>
                <a:lnTo>
                  <a:pt x="2119" y="530"/>
                </a:lnTo>
                <a:lnTo>
                  <a:pt x="2026" y="530"/>
                </a:lnTo>
                <a:lnTo>
                  <a:pt x="2026" y="500"/>
                </a:lnTo>
                <a:close/>
                <a:moveTo>
                  <a:pt x="1936" y="541"/>
                </a:moveTo>
                <a:lnTo>
                  <a:pt x="2017" y="541"/>
                </a:lnTo>
                <a:lnTo>
                  <a:pt x="2017" y="569"/>
                </a:lnTo>
                <a:lnTo>
                  <a:pt x="1936" y="569"/>
                </a:lnTo>
                <a:lnTo>
                  <a:pt x="1936" y="541"/>
                </a:lnTo>
                <a:close/>
                <a:moveTo>
                  <a:pt x="1924" y="500"/>
                </a:moveTo>
                <a:lnTo>
                  <a:pt x="2017" y="500"/>
                </a:lnTo>
                <a:lnTo>
                  <a:pt x="2017" y="530"/>
                </a:lnTo>
                <a:lnTo>
                  <a:pt x="1936" y="530"/>
                </a:lnTo>
                <a:lnTo>
                  <a:pt x="1936" y="530"/>
                </a:lnTo>
                <a:lnTo>
                  <a:pt x="1924" y="530"/>
                </a:lnTo>
                <a:lnTo>
                  <a:pt x="1924" y="500"/>
                </a:lnTo>
                <a:close/>
                <a:moveTo>
                  <a:pt x="1820" y="500"/>
                </a:moveTo>
                <a:lnTo>
                  <a:pt x="1913" y="500"/>
                </a:lnTo>
                <a:lnTo>
                  <a:pt x="1913" y="530"/>
                </a:lnTo>
                <a:lnTo>
                  <a:pt x="1820" y="530"/>
                </a:lnTo>
                <a:lnTo>
                  <a:pt x="1820" y="500"/>
                </a:lnTo>
                <a:close/>
                <a:moveTo>
                  <a:pt x="1719" y="500"/>
                </a:moveTo>
                <a:lnTo>
                  <a:pt x="1812" y="500"/>
                </a:lnTo>
                <a:lnTo>
                  <a:pt x="1812" y="530"/>
                </a:lnTo>
                <a:lnTo>
                  <a:pt x="1719" y="530"/>
                </a:lnTo>
                <a:lnTo>
                  <a:pt x="1719" y="500"/>
                </a:lnTo>
                <a:close/>
                <a:moveTo>
                  <a:pt x="1653" y="500"/>
                </a:moveTo>
                <a:lnTo>
                  <a:pt x="1710" y="500"/>
                </a:lnTo>
                <a:lnTo>
                  <a:pt x="1710" y="530"/>
                </a:lnTo>
                <a:lnTo>
                  <a:pt x="1653" y="530"/>
                </a:lnTo>
                <a:lnTo>
                  <a:pt x="1653" y="500"/>
                </a:lnTo>
                <a:close/>
                <a:moveTo>
                  <a:pt x="1333" y="219"/>
                </a:moveTo>
                <a:lnTo>
                  <a:pt x="1330" y="203"/>
                </a:lnTo>
                <a:lnTo>
                  <a:pt x="1389" y="203"/>
                </a:lnTo>
                <a:lnTo>
                  <a:pt x="1346" y="263"/>
                </a:lnTo>
                <a:lnTo>
                  <a:pt x="1331" y="219"/>
                </a:lnTo>
                <a:lnTo>
                  <a:pt x="1333" y="219"/>
                </a:lnTo>
                <a:close/>
                <a:moveTo>
                  <a:pt x="1326" y="121"/>
                </a:moveTo>
                <a:lnTo>
                  <a:pt x="1310" y="121"/>
                </a:lnTo>
                <a:lnTo>
                  <a:pt x="1303" y="85"/>
                </a:lnTo>
                <a:lnTo>
                  <a:pt x="1326" y="85"/>
                </a:lnTo>
                <a:lnTo>
                  <a:pt x="1326" y="121"/>
                </a:lnTo>
                <a:close/>
                <a:moveTo>
                  <a:pt x="1315" y="144"/>
                </a:moveTo>
                <a:lnTo>
                  <a:pt x="1314" y="130"/>
                </a:lnTo>
                <a:lnTo>
                  <a:pt x="1323" y="130"/>
                </a:lnTo>
                <a:lnTo>
                  <a:pt x="1315" y="144"/>
                </a:lnTo>
                <a:close/>
                <a:moveTo>
                  <a:pt x="1267" y="130"/>
                </a:moveTo>
                <a:lnTo>
                  <a:pt x="1303" y="130"/>
                </a:lnTo>
                <a:lnTo>
                  <a:pt x="1319" y="199"/>
                </a:lnTo>
                <a:lnTo>
                  <a:pt x="1323" y="214"/>
                </a:lnTo>
                <a:lnTo>
                  <a:pt x="1267" y="214"/>
                </a:lnTo>
                <a:lnTo>
                  <a:pt x="1267" y="130"/>
                </a:lnTo>
                <a:close/>
                <a:moveTo>
                  <a:pt x="1267" y="85"/>
                </a:moveTo>
                <a:lnTo>
                  <a:pt x="1292" y="85"/>
                </a:lnTo>
                <a:lnTo>
                  <a:pt x="1301" y="121"/>
                </a:lnTo>
                <a:lnTo>
                  <a:pt x="1267" y="121"/>
                </a:lnTo>
                <a:lnTo>
                  <a:pt x="1267" y="85"/>
                </a:lnTo>
                <a:close/>
                <a:moveTo>
                  <a:pt x="1267" y="37"/>
                </a:moveTo>
                <a:lnTo>
                  <a:pt x="1281" y="37"/>
                </a:lnTo>
                <a:lnTo>
                  <a:pt x="1290" y="77"/>
                </a:lnTo>
                <a:lnTo>
                  <a:pt x="1267" y="77"/>
                </a:lnTo>
                <a:lnTo>
                  <a:pt x="1267" y="37"/>
                </a:lnTo>
                <a:close/>
                <a:moveTo>
                  <a:pt x="1267" y="9"/>
                </a:moveTo>
                <a:lnTo>
                  <a:pt x="1276" y="9"/>
                </a:lnTo>
                <a:lnTo>
                  <a:pt x="1280" y="27"/>
                </a:lnTo>
                <a:lnTo>
                  <a:pt x="1267" y="27"/>
                </a:lnTo>
                <a:lnTo>
                  <a:pt x="1267" y="9"/>
                </a:lnTo>
                <a:close/>
                <a:moveTo>
                  <a:pt x="1130" y="342"/>
                </a:moveTo>
                <a:lnTo>
                  <a:pt x="1139" y="342"/>
                </a:lnTo>
                <a:lnTo>
                  <a:pt x="1139" y="447"/>
                </a:lnTo>
                <a:lnTo>
                  <a:pt x="1130" y="447"/>
                </a:lnTo>
                <a:lnTo>
                  <a:pt x="1130" y="342"/>
                </a:lnTo>
                <a:close/>
                <a:moveTo>
                  <a:pt x="362" y="678"/>
                </a:moveTo>
                <a:lnTo>
                  <a:pt x="250" y="664"/>
                </a:lnTo>
                <a:lnTo>
                  <a:pt x="239" y="664"/>
                </a:lnTo>
                <a:lnTo>
                  <a:pt x="239" y="644"/>
                </a:lnTo>
                <a:lnTo>
                  <a:pt x="396" y="635"/>
                </a:lnTo>
                <a:lnTo>
                  <a:pt x="462" y="653"/>
                </a:lnTo>
                <a:lnTo>
                  <a:pt x="462" y="703"/>
                </a:lnTo>
                <a:lnTo>
                  <a:pt x="443" y="703"/>
                </a:lnTo>
                <a:lnTo>
                  <a:pt x="443" y="765"/>
                </a:lnTo>
                <a:lnTo>
                  <a:pt x="378" y="765"/>
                </a:lnTo>
                <a:lnTo>
                  <a:pt x="378" y="708"/>
                </a:lnTo>
                <a:lnTo>
                  <a:pt x="362" y="708"/>
                </a:lnTo>
                <a:lnTo>
                  <a:pt x="362" y="678"/>
                </a:lnTo>
                <a:close/>
              </a:path>
            </a:pathLst>
          </a:custGeom>
          <a:solidFill>
            <a:srgbClr val="004E6B"/>
          </a:solidFill>
          <a:ln w="9525">
            <a:noFill/>
            <a:round/>
            <a:headEnd/>
            <a:tailEnd/>
          </a:ln>
          <a:effectLst>
            <a:reflection blurRad="6350" stA="50000" endA="300" endPos="55000" dir="5400000" sy="-100000" algn="bl" rotWithShape="0"/>
          </a:effectLst>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Zetta Sans Book"/>
            </a:endParaRPr>
          </a:p>
        </p:txBody>
      </p:sp>
    </p:spTree>
    <p:extLst>
      <p:ext uri="{BB962C8B-B14F-4D97-AF65-F5344CB8AC3E}">
        <p14:creationId xmlns:p14="http://schemas.microsoft.com/office/powerpoint/2010/main" val="70258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p:cNvPicPr>
          <p:nvPr>
            <p:custDataLst>
              <p:tags r:id="rId1"/>
            </p:custDataLst>
          </p:nvPr>
        </p:nvPicPr>
        <p:blipFill rotWithShape="1">
          <a:blip r:embed="rId4">
            <a:extLst>
              <a:ext uri="{28A0092B-C50C-407E-A947-70E740481C1C}">
                <a14:useLocalDpi xmlns:a14="http://schemas.microsoft.com/office/drawing/2010/main" val="0"/>
              </a:ext>
            </a:extLst>
          </a:blip>
          <a:srcRect t="23028" b="26060"/>
          <a:stretch/>
        </p:blipFill>
        <p:spPr>
          <a:xfrm>
            <a:off x="152399" y="150990"/>
            <a:ext cx="11896665" cy="6182077"/>
          </a:xfrm>
          <a:prstGeom prst="rect">
            <a:avLst/>
          </a:prstGeom>
        </p:spPr>
      </p:pic>
      <p:pic>
        <p:nvPicPr>
          <p:cNvPr id="6" name="Picture 5" descr="logo_maersk.wmf"/>
          <p:cNvPicPr>
            <a:picLocks noChangeAspect="1"/>
          </p:cNvPicPr>
          <p:nvPr/>
        </p:nvPicPr>
        <p:blipFill>
          <a:blip r:embed="rId5" cstate="print"/>
          <a:stretch>
            <a:fillRect/>
          </a:stretch>
        </p:blipFill>
        <p:spPr>
          <a:xfrm>
            <a:off x="10577589" y="6100234"/>
            <a:ext cx="1614412" cy="757765"/>
          </a:xfrm>
          <a:prstGeom prst="rect">
            <a:avLst/>
          </a:prstGeom>
        </p:spPr>
      </p:pic>
      <p:sp>
        <p:nvSpPr>
          <p:cNvPr id="7" name="Rectangle 6"/>
          <p:cNvSpPr/>
          <p:nvPr/>
        </p:nvSpPr>
        <p:spPr>
          <a:xfrm>
            <a:off x="3460741" y="3913373"/>
            <a:ext cx="2664919" cy="1728000"/>
          </a:xfrm>
          <a:prstGeom prst="rect">
            <a:avLst/>
          </a:prstGeom>
          <a:solidFill>
            <a:srgbClr val="69B8D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3996" tIns="143996" rIns="47999" bIns="47999" rtlCol="0" anchor="t" anchorCtr="0"/>
          <a:lstStyle/>
          <a:p>
            <a:pPr>
              <a:lnSpc>
                <a:spcPct val="95000"/>
              </a:lnSpc>
            </a:pPr>
            <a:r>
              <a:rPr lang="en-US" sz="2700" b="1" dirty="0">
                <a:solidFill>
                  <a:srgbClr val="FFFFFF"/>
                </a:solidFill>
                <a:latin typeface="Zetta Serif Book"/>
                <a:cs typeface="Zetta Serif Book"/>
              </a:rPr>
              <a:t>90% </a:t>
            </a:r>
          </a:p>
          <a:p>
            <a:pPr>
              <a:lnSpc>
                <a:spcPct val="95000"/>
              </a:lnSpc>
            </a:pPr>
            <a:r>
              <a:rPr lang="en-US" sz="2100" dirty="0">
                <a:solidFill>
                  <a:srgbClr val="FFFFFF"/>
                </a:solidFill>
                <a:latin typeface="Zetta Serif Book"/>
                <a:cs typeface="Zetta Serif Book"/>
              </a:rPr>
              <a:t>of internationally traded goods are transported by sea</a:t>
            </a:r>
          </a:p>
        </p:txBody>
      </p:sp>
      <p:sp>
        <p:nvSpPr>
          <p:cNvPr id="10" name="Rectangle 9"/>
          <p:cNvSpPr/>
          <p:nvPr/>
        </p:nvSpPr>
        <p:spPr>
          <a:xfrm>
            <a:off x="664631" y="3913373"/>
            <a:ext cx="2548469" cy="17280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3996" tIns="143996" rIns="47999" bIns="95998" rtlCol="0" anchor="t" anchorCtr="0"/>
          <a:lstStyle/>
          <a:p>
            <a:pPr>
              <a:lnSpc>
                <a:spcPct val="95000"/>
              </a:lnSpc>
            </a:pPr>
            <a:r>
              <a:rPr lang="en-GB" sz="2100" cap="all" dirty="0">
                <a:solidFill>
                  <a:srgbClr val="2F454E"/>
                </a:solidFill>
                <a:latin typeface="Zetta Serif Book"/>
                <a:cs typeface="Zetta Serif Book"/>
              </a:rPr>
              <a:t>Shipping enables trade and affects the lives of billions</a:t>
            </a:r>
            <a:endParaRPr lang="en-US" sz="2100" cap="all" dirty="0">
              <a:solidFill>
                <a:srgbClr val="2F454E"/>
              </a:solidFill>
              <a:latin typeface="Zetta Serif Book"/>
              <a:cs typeface="Zetta Serif Book"/>
            </a:endParaRPr>
          </a:p>
        </p:txBody>
      </p:sp>
      <p:pic>
        <p:nvPicPr>
          <p:cNvPr id="11" name="Picture 10" descr="Maersk_Line_Hvid baggrund"/>
          <p:cNvPicPr>
            <a:picLocks noChangeAspect="1" noChangeArrowheads="1"/>
          </p:cNvPicPr>
          <p:nvPr/>
        </p:nvPicPr>
        <p:blipFill>
          <a:blip r:embed="rId6" cstate="print"/>
          <a:srcRect/>
          <a:stretch>
            <a:fillRect/>
          </a:stretch>
        </p:blipFill>
        <p:spPr bwMode="auto">
          <a:xfrm>
            <a:off x="10453735" y="6079095"/>
            <a:ext cx="1724716" cy="778904"/>
          </a:xfrm>
          <a:prstGeom prst="rect">
            <a:avLst/>
          </a:prstGeom>
          <a:noFill/>
          <a:ln w="9525">
            <a:noFill/>
            <a:miter lim="800000"/>
            <a:headEnd/>
            <a:tailEnd/>
          </a:ln>
        </p:spPr>
      </p:pic>
      <p:sp>
        <p:nvSpPr>
          <p:cNvPr id="12" name="Rectangle 11"/>
          <p:cNvSpPr/>
          <p:nvPr/>
        </p:nvSpPr>
        <p:spPr>
          <a:xfrm>
            <a:off x="12054312" y="5977495"/>
            <a:ext cx="137689" cy="20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spcBef>
                <a:spcPts val="80"/>
              </a:spcBef>
              <a:spcAft>
                <a:spcPts val="800"/>
              </a:spcAft>
            </a:pPr>
            <a:endParaRPr lang="en-GB" dirty="0">
              <a:solidFill>
                <a:srgbClr val="FFFFFF"/>
              </a:solidFill>
            </a:endParaRPr>
          </a:p>
        </p:txBody>
      </p:sp>
      <p:sp>
        <p:nvSpPr>
          <p:cNvPr id="8" name="Slide Number Placeholder 4"/>
          <p:cNvSpPr txBox="1">
            <a:spLocks/>
          </p:cNvSpPr>
          <p:nvPr/>
        </p:nvSpPr>
        <p:spPr>
          <a:xfrm>
            <a:off x="73072" y="6425853"/>
            <a:ext cx="1447800" cy="301974"/>
          </a:xfrm>
          <a:prstGeom prst="rect">
            <a:avLst/>
          </a:prstGeom>
          <a:no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FA911F-CC99-4C58-912D-4A6FA5E2A1D0}" type="slidenum">
              <a:rPr lang="en-GB" sz="1000" smtClean="0"/>
              <a:pPr/>
              <a:t>3</a:t>
            </a:fld>
            <a:endParaRPr lang="en-GB" sz="1000" dirty="0" smtClean="0"/>
          </a:p>
        </p:txBody>
      </p:sp>
    </p:spTree>
    <p:extLst>
      <p:ext uri="{BB962C8B-B14F-4D97-AF65-F5344CB8AC3E}">
        <p14:creationId xmlns:p14="http://schemas.microsoft.com/office/powerpoint/2010/main" val="2342482741"/>
      </p:ext>
    </p:extLst>
  </p:cSld>
  <p:clrMapOvr>
    <a:masterClrMapping/>
  </p:clrMapOvr>
  <mc:AlternateContent xmlns:mc="http://schemas.openxmlformats.org/markup-compatibility/2006" xmlns:p14="http://schemas.microsoft.com/office/powerpoint/2010/main">
    <mc:Choice Requires="p14">
      <p:transition p14:dur="0"/>
    </mc:Choice>
    <mc:Fallback xmlns:mv="urn:schemas-microsoft-com:mac:vml"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descr="globalno2_omi_2012_assembled-from-screenshots_743px.jpg"/>
          <p:cNvPicPr>
            <a:picLocks noChangeAspect="1"/>
          </p:cNvPicPr>
          <p:nvPr/>
        </p:nvPicPr>
        <p:blipFill>
          <a:blip r:embed="rId4" cstate="print"/>
          <a:stretch>
            <a:fillRect/>
          </a:stretch>
        </p:blipFill>
        <p:spPr>
          <a:xfrm>
            <a:off x="6096330" y="381000"/>
            <a:ext cx="5110288" cy="5791200"/>
          </a:xfrm>
          <a:prstGeom prst="rect">
            <a:avLst/>
          </a:prstGeom>
        </p:spPr>
      </p:pic>
      <p:sp>
        <p:nvSpPr>
          <p:cNvPr id="3" name="Rectangle 2"/>
          <p:cNvSpPr/>
          <p:nvPr/>
        </p:nvSpPr>
        <p:spPr>
          <a:xfrm>
            <a:off x="5863217" y="6260068"/>
            <a:ext cx="3294748" cy="307777"/>
          </a:xfrm>
          <a:prstGeom prst="rect">
            <a:avLst/>
          </a:prstGeom>
        </p:spPr>
        <p:txBody>
          <a:bodyPr wrap="none">
            <a:spAutoFit/>
          </a:bodyPr>
          <a:lstStyle/>
          <a:p>
            <a:r>
              <a:rPr lang="en-US" sz="1400" dirty="0"/>
              <a:t>http://climate.nasa.gov/news/860</a:t>
            </a:r>
          </a:p>
        </p:txBody>
      </p:sp>
      <p:sp>
        <p:nvSpPr>
          <p:cNvPr id="4" name="TextBox 3"/>
          <p:cNvSpPr txBox="1"/>
          <p:nvPr/>
        </p:nvSpPr>
        <p:spPr>
          <a:xfrm>
            <a:off x="1352811" y="609601"/>
            <a:ext cx="4438389" cy="1508105"/>
          </a:xfrm>
          <a:prstGeom prst="rect">
            <a:avLst/>
          </a:prstGeom>
          <a:noFill/>
        </p:spPr>
        <p:txBody>
          <a:bodyPr wrap="square" rtlCol="0">
            <a:spAutoFit/>
          </a:bodyPr>
          <a:lstStyle/>
          <a:p>
            <a:r>
              <a:rPr lang="en-US" sz="2400" dirty="0"/>
              <a:t>Ocean shipping is the most energy-efficient way to move cargo long distances…</a:t>
            </a:r>
          </a:p>
          <a:p>
            <a:r>
              <a:rPr lang="en-US" sz="2000" i="1" dirty="0">
                <a:solidFill>
                  <a:srgbClr val="0070C0"/>
                </a:solidFill>
              </a:rPr>
              <a:t>But is impacting the planet</a:t>
            </a:r>
          </a:p>
        </p:txBody>
      </p:sp>
      <p:sp>
        <p:nvSpPr>
          <p:cNvPr id="5" name="Rectangle 4"/>
          <p:cNvSpPr/>
          <p:nvPr/>
        </p:nvSpPr>
        <p:spPr>
          <a:xfrm>
            <a:off x="1139869" y="2755726"/>
            <a:ext cx="4057389" cy="2959274"/>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dirty="0"/>
              <a:t>90% of all goods transported globally are carried by ship. </a:t>
            </a:r>
          </a:p>
          <a:p>
            <a:pPr algn="ctr"/>
            <a:endParaRPr lang="da-DK" sz="2400" dirty="0"/>
          </a:p>
          <a:p>
            <a:pPr algn="ctr"/>
            <a:r>
              <a:rPr lang="da-DK" sz="2400" dirty="0"/>
              <a:t>Ocean shipping </a:t>
            </a:r>
            <a:r>
              <a:rPr lang="da-DK" sz="2400" dirty="0" smtClean="0"/>
              <a:t>generates ~2</a:t>
            </a:r>
            <a:r>
              <a:rPr lang="en-US" sz="2400" dirty="0"/>
              <a:t>% of all man-made CO</a:t>
            </a:r>
            <a:r>
              <a:rPr lang="en-US" sz="2400" baseline="-25000" dirty="0"/>
              <a:t>2</a:t>
            </a:r>
            <a:r>
              <a:rPr lang="en-US" sz="2400" dirty="0"/>
              <a:t>. </a:t>
            </a:r>
          </a:p>
        </p:txBody>
      </p:sp>
    </p:spTree>
    <p:extLst>
      <p:ext uri="{BB962C8B-B14F-4D97-AF65-F5344CB8AC3E}">
        <p14:creationId xmlns:p14="http://schemas.microsoft.com/office/powerpoint/2010/main" val="18477369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mn-lt"/>
              </a:rPr>
              <a:t>Port-related operations are significant sources of air emissions and greenhouse gases.</a:t>
            </a:r>
            <a:endParaRPr lang="en-US" dirty="0">
              <a:latin typeface="+mn-lt"/>
            </a:endParaRPr>
          </a:p>
        </p:txBody>
      </p:sp>
      <p:pic>
        <p:nvPicPr>
          <p:cNvPr id="6" name="Content Placeholder 5"/>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137621" y="1788091"/>
            <a:ext cx="5400966" cy="4172614"/>
          </a:xfrm>
        </p:spPr>
      </p:pic>
      <p:sp>
        <p:nvSpPr>
          <p:cNvPr id="3" name="Rectangle 2"/>
          <p:cNvSpPr/>
          <p:nvPr/>
        </p:nvSpPr>
        <p:spPr>
          <a:xfrm>
            <a:off x="7432552" y="2688523"/>
            <a:ext cx="3602863" cy="1754326"/>
          </a:xfrm>
          <a:prstGeom prst="rect">
            <a:avLst/>
          </a:prstGeom>
        </p:spPr>
        <p:txBody>
          <a:bodyPr wrap="square">
            <a:spAutoFit/>
          </a:bodyPr>
          <a:lstStyle/>
          <a:p>
            <a:r>
              <a:rPr lang="en-US" dirty="0" smtClean="0"/>
              <a:t>Many ports are in areas with existing air quality challenges and nearby populations.</a:t>
            </a:r>
          </a:p>
          <a:p>
            <a:endParaRPr lang="en-US" dirty="0"/>
          </a:p>
          <a:p>
            <a:r>
              <a:rPr lang="en-US" dirty="0" smtClean="0"/>
              <a:t>The largest sources of port-related emissions are vessels and trucks.</a:t>
            </a:r>
            <a:endParaRPr lang="en-US" dirty="0"/>
          </a:p>
        </p:txBody>
      </p:sp>
    </p:spTree>
    <p:extLst>
      <p:ext uri="{BB962C8B-B14F-4D97-AF65-F5344CB8AC3E}">
        <p14:creationId xmlns:p14="http://schemas.microsoft.com/office/powerpoint/2010/main" val="38521802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905000" y="278704"/>
            <a:ext cx="8069841" cy="3352800"/>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800" y="3429000"/>
            <a:ext cx="7239000" cy="3206405"/>
          </a:xfrm>
          <a:prstGeom prst="rect">
            <a:avLst/>
          </a:prstGeom>
        </p:spPr>
      </p:pic>
      <p:cxnSp>
        <p:nvCxnSpPr>
          <p:cNvPr id="6" name="Straight Connector 5"/>
          <p:cNvCxnSpPr/>
          <p:nvPr/>
        </p:nvCxnSpPr>
        <p:spPr>
          <a:xfrm>
            <a:off x="533400" y="3276600"/>
            <a:ext cx="112014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2370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bwMode="auto">
          <a:xfrm>
            <a:off x="726510" y="162838"/>
            <a:ext cx="10471758" cy="1361162"/>
          </a:xfrm>
          <a:prstGeom prst="rect">
            <a:avLst/>
          </a:prstGeom>
          <a:noFill/>
          <a:ln w="9525">
            <a:noFill/>
            <a:miter lim="800000"/>
            <a:headEnd/>
            <a:tailEnd/>
          </a:ln>
          <a:effectLst/>
        </p:spPr>
        <p:txBody>
          <a:bodyPr vert="horz" wrap="square" lIns="180000" tIns="360000" rIns="0" bIns="0" numCol="1" anchor="t" anchorCtr="0" compatLnSpc="1">
            <a:prstTxWarp prst="textNoShape">
              <a:avLst/>
            </a:prstTxWarp>
          </a:bodyPr>
          <a:lstStyle>
            <a:lvl1pPr algn="l" rtl="0" fontAlgn="base">
              <a:lnSpc>
                <a:spcPct val="94000"/>
              </a:lnSpc>
              <a:spcBef>
                <a:spcPct val="0"/>
              </a:spcBef>
              <a:spcAft>
                <a:spcPct val="0"/>
              </a:spcAft>
              <a:defRPr sz="2000" b="1" spc="-150">
                <a:solidFill>
                  <a:schemeClr val="tx2"/>
                </a:solidFill>
                <a:latin typeface="+mj-lt"/>
                <a:ea typeface="+mj-ea"/>
                <a:cs typeface="+mj-cs"/>
              </a:defRPr>
            </a:lvl1pPr>
            <a:lvl2pPr algn="l" rtl="0" fontAlgn="base">
              <a:lnSpc>
                <a:spcPct val="94000"/>
              </a:lnSpc>
              <a:spcBef>
                <a:spcPct val="0"/>
              </a:spcBef>
              <a:spcAft>
                <a:spcPct val="0"/>
              </a:spcAft>
              <a:defRPr sz="3200" b="1">
                <a:solidFill>
                  <a:schemeClr val="tx1"/>
                </a:solidFill>
                <a:latin typeface="Verdana" pitchFamily="34" charset="0"/>
              </a:defRPr>
            </a:lvl2pPr>
            <a:lvl3pPr algn="l" rtl="0" fontAlgn="base">
              <a:lnSpc>
                <a:spcPct val="94000"/>
              </a:lnSpc>
              <a:spcBef>
                <a:spcPct val="0"/>
              </a:spcBef>
              <a:spcAft>
                <a:spcPct val="0"/>
              </a:spcAft>
              <a:defRPr sz="3200" b="1">
                <a:solidFill>
                  <a:schemeClr val="tx1"/>
                </a:solidFill>
                <a:latin typeface="Verdana" pitchFamily="34" charset="0"/>
              </a:defRPr>
            </a:lvl3pPr>
            <a:lvl4pPr algn="l" rtl="0" fontAlgn="base">
              <a:lnSpc>
                <a:spcPct val="94000"/>
              </a:lnSpc>
              <a:spcBef>
                <a:spcPct val="0"/>
              </a:spcBef>
              <a:spcAft>
                <a:spcPct val="0"/>
              </a:spcAft>
              <a:defRPr sz="3200" b="1">
                <a:solidFill>
                  <a:schemeClr val="tx1"/>
                </a:solidFill>
                <a:latin typeface="Verdana" pitchFamily="34" charset="0"/>
              </a:defRPr>
            </a:lvl4pPr>
            <a:lvl5pPr algn="l" rtl="0" fontAlgn="base">
              <a:lnSpc>
                <a:spcPct val="94000"/>
              </a:lnSpc>
              <a:spcBef>
                <a:spcPct val="0"/>
              </a:spcBef>
              <a:spcAft>
                <a:spcPct val="0"/>
              </a:spcAft>
              <a:defRPr sz="3200" b="1">
                <a:solidFill>
                  <a:schemeClr val="tx1"/>
                </a:solidFill>
                <a:latin typeface="Verdana" pitchFamily="34" charset="0"/>
              </a:defRPr>
            </a:lvl5pPr>
            <a:lvl6pPr marL="457200" algn="l" rtl="0" fontAlgn="base">
              <a:lnSpc>
                <a:spcPct val="94000"/>
              </a:lnSpc>
              <a:spcBef>
                <a:spcPct val="0"/>
              </a:spcBef>
              <a:spcAft>
                <a:spcPct val="0"/>
              </a:spcAft>
              <a:defRPr sz="3200" b="1">
                <a:solidFill>
                  <a:schemeClr val="tx1"/>
                </a:solidFill>
                <a:latin typeface="Verdana" pitchFamily="34" charset="0"/>
              </a:defRPr>
            </a:lvl6pPr>
            <a:lvl7pPr marL="914400" algn="l" rtl="0" fontAlgn="base">
              <a:lnSpc>
                <a:spcPct val="94000"/>
              </a:lnSpc>
              <a:spcBef>
                <a:spcPct val="0"/>
              </a:spcBef>
              <a:spcAft>
                <a:spcPct val="0"/>
              </a:spcAft>
              <a:defRPr sz="3200" b="1">
                <a:solidFill>
                  <a:schemeClr val="tx1"/>
                </a:solidFill>
                <a:latin typeface="Verdana" pitchFamily="34" charset="0"/>
              </a:defRPr>
            </a:lvl7pPr>
            <a:lvl8pPr marL="1371600" algn="l" rtl="0" fontAlgn="base">
              <a:lnSpc>
                <a:spcPct val="94000"/>
              </a:lnSpc>
              <a:spcBef>
                <a:spcPct val="0"/>
              </a:spcBef>
              <a:spcAft>
                <a:spcPct val="0"/>
              </a:spcAft>
              <a:defRPr sz="3200" b="1">
                <a:solidFill>
                  <a:schemeClr val="tx1"/>
                </a:solidFill>
                <a:latin typeface="Verdana" pitchFamily="34" charset="0"/>
              </a:defRPr>
            </a:lvl8pPr>
            <a:lvl9pPr marL="1828800" algn="l" rtl="0" fontAlgn="base">
              <a:lnSpc>
                <a:spcPct val="94000"/>
              </a:lnSpc>
              <a:spcBef>
                <a:spcPct val="0"/>
              </a:spcBef>
              <a:spcAft>
                <a:spcPct val="0"/>
              </a:spcAft>
              <a:defRPr sz="3200" b="1">
                <a:solidFill>
                  <a:schemeClr val="tx1"/>
                </a:solidFill>
                <a:latin typeface="Verdana" pitchFamily="34" charset="0"/>
              </a:defRPr>
            </a:lvl9pPr>
          </a:lstStyle>
          <a:p>
            <a:pPr fontAlgn="auto">
              <a:lnSpc>
                <a:spcPct val="100000"/>
              </a:lnSpc>
              <a:spcBef>
                <a:spcPts val="0"/>
              </a:spcBef>
              <a:spcAft>
                <a:spcPts val="0"/>
              </a:spcAft>
            </a:pPr>
            <a:r>
              <a:rPr lang="en-US" sz="2800" b="0" spc="0" dirty="0">
                <a:solidFill>
                  <a:srgbClr val="000000"/>
                </a:solidFill>
                <a:latin typeface="Verdana" panose="020B0604030504040204" pitchFamily="34" charset="0"/>
                <a:ea typeface="Verdana" panose="020B0604030504040204" pitchFamily="34" charset="0"/>
                <a:cs typeface="Verdana" panose="020B0604030504040204" pitchFamily="34" charset="0"/>
              </a:rPr>
              <a:t>Decoupling </a:t>
            </a:r>
            <a:r>
              <a:rPr lang="en-US" sz="2800" b="0" spc="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growth, fuel use and </a:t>
            </a:r>
            <a:r>
              <a:rPr lang="en-US" sz="2800" b="0" spc="0" dirty="0">
                <a:solidFill>
                  <a:srgbClr val="000000"/>
                </a:solidFill>
                <a:latin typeface="Verdana" panose="020B0604030504040204" pitchFamily="34" charset="0"/>
                <a:ea typeface="Verdana" panose="020B0604030504040204" pitchFamily="34" charset="0"/>
                <a:cs typeface="Verdana" panose="020B0604030504040204" pitchFamily="34" charset="0"/>
              </a:rPr>
              <a:t>environmental impact </a:t>
            </a:r>
            <a:endParaRPr lang="en-US" sz="2800" b="0" spc="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fontAlgn="auto">
              <a:lnSpc>
                <a:spcPct val="100000"/>
              </a:lnSpc>
              <a:spcBef>
                <a:spcPts val="0"/>
              </a:spcBef>
              <a:spcAft>
                <a:spcPts val="0"/>
              </a:spcAft>
            </a:pPr>
            <a:r>
              <a:rPr lang="en-US" b="0" i="1" kern="0" spc="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Since </a:t>
            </a:r>
            <a:r>
              <a:rPr lang="en-US" b="0" i="1" kern="0" spc="0" dirty="0">
                <a:solidFill>
                  <a:srgbClr val="0070C0"/>
                </a:solidFill>
                <a:latin typeface="Verdana" panose="020B0604030504040204" pitchFamily="34" charset="0"/>
                <a:ea typeface="Verdana" panose="020B0604030504040204" pitchFamily="34" charset="0"/>
                <a:cs typeface="Verdana" panose="020B0604030504040204" pitchFamily="34" charset="0"/>
              </a:rPr>
              <a:t>2007, Maersk Line has managed to grow our business while reducing emissions to the environment.</a:t>
            </a:r>
            <a:endParaRPr lang="en-US" b="0" spc="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extBox 2"/>
          <p:cNvSpPr txBox="1"/>
          <p:nvPr/>
        </p:nvSpPr>
        <p:spPr>
          <a:xfrm>
            <a:off x="2362200" y="2206854"/>
            <a:ext cx="7391400" cy="369332"/>
          </a:xfrm>
          <a:prstGeom prst="rect">
            <a:avLst/>
          </a:prstGeom>
          <a:noFill/>
        </p:spPr>
        <p:txBody>
          <a:bodyPr wrap="square" rtlCol="0">
            <a:spAutoFit/>
          </a:bodyPr>
          <a:lstStyle/>
          <a:p>
            <a:pPr algn="ctr"/>
            <a:r>
              <a:rPr lang="en-US" dirty="0">
                <a:solidFill>
                  <a:srgbClr val="000000"/>
                </a:solidFill>
              </a:rPr>
              <a:t>Changes in Global Containers Shipped and Total CO</a:t>
            </a:r>
            <a:r>
              <a:rPr lang="en-US" baseline="-25000" dirty="0">
                <a:solidFill>
                  <a:srgbClr val="000000"/>
                </a:solidFill>
              </a:rPr>
              <a:t>2</a:t>
            </a:r>
            <a:r>
              <a:rPr lang="en-US" dirty="0">
                <a:solidFill>
                  <a:srgbClr val="000000"/>
                </a:solidFill>
              </a:rPr>
              <a:t> Produced </a:t>
            </a:r>
          </a:p>
        </p:txBody>
      </p:sp>
      <p:pic>
        <p:nvPicPr>
          <p:cNvPr id="2" name="Picture 1"/>
          <p:cNvPicPr>
            <a:picLocks noChangeAspect="1"/>
          </p:cNvPicPr>
          <p:nvPr/>
        </p:nvPicPr>
        <p:blipFill>
          <a:blip r:embed="rId3"/>
          <a:stretch>
            <a:fillRect/>
          </a:stretch>
        </p:blipFill>
        <p:spPr>
          <a:xfrm>
            <a:off x="2779037" y="2680570"/>
            <a:ext cx="6410774" cy="3096016"/>
          </a:xfrm>
          <a:prstGeom prst="rect">
            <a:avLst/>
          </a:prstGeom>
        </p:spPr>
      </p:pic>
    </p:spTree>
    <p:extLst>
      <p:ext uri="{BB962C8B-B14F-4D97-AF65-F5344CB8AC3E}">
        <p14:creationId xmlns:p14="http://schemas.microsoft.com/office/powerpoint/2010/main" val="4072040608"/>
      </p:ext>
    </p:extLst>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3"/>
          <p:cNvSpPr>
            <a:spLocks noGrp="1" noChangeArrowheads="1"/>
          </p:cNvSpPr>
          <p:nvPr>
            <p:ph type="title"/>
          </p:nvPr>
        </p:nvSpPr>
        <p:spPr>
          <a:xfrm>
            <a:off x="864296" y="304800"/>
            <a:ext cx="9270305" cy="871604"/>
          </a:xfrm>
        </p:spPr>
        <p:txBody>
          <a:bodyPr/>
          <a:lstStyle/>
          <a:p>
            <a:r>
              <a:rPr lang="en-US" dirty="0" smtClean="0"/>
              <a:t>Vessels are increasingly fuel efficient. </a:t>
            </a:r>
            <a:br>
              <a:rPr lang="en-US" dirty="0" smtClean="0"/>
            </a:br>
            <a:r>
              <a:rPr lang="en-US" sz="2400" i="1" dirty="0">
                <a:solidFill>
                  <a:srgbClr val="0070C0"/>
                </a:solidFill>
              </a:rPr>
              <a:t>This reduces fuel use, CO</a:t>
            </a:r>
            <a:r>
              <a:rPr lang="en-US" sz="2400" i="1" baseline="-25000" dirty="0">
                <a:solidFill>
                  <a:srgbClr val="0070C0"/>
                </a:solidFill>
              </a:rPr>
              <a:t>2</a:t>
            </a:r>
            <a:r>
              <a:rPr lang="en-US" sz="2400" i="1" dirty="0">
                <a:solidFill>
                  <a:srgbClr val="0070C0"/>
                </a:solidFill>
              </a:rPr>
              <a:t> and other air emissions. </a:t>
            </a:r>
            <a:endParaRPr lang="en-GB" sz="2400" i="1" dirty="0">
              <a:solidFill>
                <a:srgbClr val="0070C0"/>
              </a:solidFill>
            </a:endParaRPr>
          </a:p>
        </p:txBody>
      </p:sp>
      <p:sp>
        <p:nvSpPr>
          <p:cNvPr id="15" name="TextBox 14"/>
          <p:cNvSpPr txBox="1"/>
          <p:nvPr/>
        </p:nvSpPr>
        <p:spPr>
          <a:xfrm>
            <a:off x="7287494" y="1514606"/>
            <a:ext cx="4026074" cy="2400657"/>
          </a:xfrm>
          <a:prstGeom prst="rect">
            <a:avLst/>
          </a:prstGeom>
          <a:noFill/>
        </p:spPr>
        <p:txBody>
          <a:bodyPr wrap="square">
            <a:spAutoFit/>
          </a:bodyPr>
          <a:lstStyle/>
          <a:p>
            <a:pPr>
              <a:lnSpc>
                <a:spcPct val="150000"/>
              </a:lnSpc>
              <a:defRPr/>
            </a:pPr>
            <a:r>
              <a:rPr lang="en-US" sz="2000" kern="0" dirty="0" smtClean="0">
                <a:solidFill>
                  <a:sysClr val="windowText" lastClr="000000"/>
                </a:solidFill>
              </a:rPr>
              <a:t>How? Efficiency in </a:t>
            </a:r>
          </a:p>
          <a:p>
            <a:pPr>
              <a:lnSpc>
                <a:spcPct val="150000"/>
              </a:lnSpc>
              <a:buFont typeface="Wingdings" pitchFamily="2" charset="2"/>
              <a:buChar char="Ø"/>
              <a:defRPr/>
            </a:pPr>
            <a:r>
              <a:rPr lang="en-US" sz="2000" kern="0" dirty="0" smtClean="0">
                <a:solidFill>
                  <a:sysClr val="windowText" lastClr="000000"/>
                </a:solidFill>
              </a:rPr>
              <a:t>New </a:t>
            </a:r>
            <a:r>
              <a:rPr lang="en-US" sz="2000" kern="0" dirty="0" smtClean="0">
                <a:solidFill>
                  <a:sysClr val="windowText" lastClr="000000"/>
                </a:solidFill>
              </a:rPr>
              <a:t>vessels </a:t>
            </a:r>
          </a:p>
          <a:p>
            <a:pPr>
              <a:lnSpc>
                <a:spcPct val="150000"/>
              </a:lnSpc>
              <a:buFont typeface="Wingdings" pitchFamily="2" charset="2"/>
              <a:buChar char="Ø"/>
              <a:defRPr/>
            </a:pPr>
            <a:r>
              <a:rPr lang="en-US" sz="2000" kern="0" dirty="0" smtClean="0">
                <a:solidFill>
                  <a:sysClr val="windowText" lastClr="000000"/>
                </a:solidFill>
              </a:rPr>
              <a:t> </a:t>
            </a:r>
            <a:r>
              <a:rPr lang="en-US" sz="2000" kern="0" dirty="0">
                <a:solidFill>
                  <a:sysClr val="windowText" lastClr="000000"/>
                </a:solidFill>
              </a:rPr>
              <a:t>Eco-Retrofitting vessels</a:t>
            </a:r>
          </a:p>
          <a:p>
            <a:pPr>
              <a:lnSpc>
                <a:spcPct val="150000"/>
              </a:lnSpc>
              <a:buFont typeface="Wingdings" pitchFamily="2" charset="2"/>
              <a:buChar char="Ø"/>
              <a:defRPr/>
            </a:pPr>
            <a:r>
              <a:rPr lang="en-US" sz="2000" kern="0" dirty="0">
                <a:solidFill>
                  <a:sysClr val="windowText" lastClr="000000"/>
                </a:solidFill>
              </a:rPr>
              <a:t> Network design</a:t>
            </a:r>
          </a:p>
          <a:p>
            <a:pPr>
              <a:lnSpc>
                <a:spcPct val="150000"/>
              </a:lnSpc>
              <a:buFont typeface="Wingdings" pitchFamily="2" charset="2"/>
              <a:buChar char="Ø"/>
              <a:defRPr/>
            </a:pPr>
            <a:r>
              <a:rPr lang="en-US" sz="2000" kern="0" dirty="0" smtClean="0">
                <a:solidFill>
                  <a:sysClr val="windowText" lastClr="000000"/>
                </a:solidFill>
              </a:rPr>
              <a:t>“</a:t>
            </a:r>
            <a:r>
              <a:rPr lang="en-US" sz="2000" kern="0" dirty="0">
                <a:solidFill>
                  <a:sysClr val="windowText" lastClr="000000"/>
                </a:solidFill>
              </a:rPr>
              <a:t>Smart steaming” </a:t>
            </a:r>
          </a:p>
        </p:txBody>
      </p:sp>
      <p:sp>
        <p:nvSpPr>
          <p:cNvPr id="3" name="Rectangle 2"/>
          <p:cNvSpPr/>
          <p:nvPr/>
        </p:nvSpPr>
        <p:spPr>
          <a:xfrm>
            <a:off x="7036494" y="4320488"/>
            <a:ext cx="4114800" cy="783869"/>
          </a:xfrm>
          <a:prstGeom prst="rect">
            <a:avLst/>
          </a:prstGeom>
        </p:spPr>
        <p:txBody>
          <a:bodyPr wrap="square">
            <a:spAutoFit/>
          </a:bodyPr>
          <a:lstStyle/>
          <a:p>
            <a:pPr algn="ctr" fontAlgn="base">
              <a:lnSpc>
                <a:spcPct val="107000"/>
              </a:lnSpc>
              <a:spcBef>
                <a:spcPct val="0"/>
              </a:spcBef>
              <a:spcAft>
                <a:spcPct val="0"/>
              </a:spcAft>
            </a:pPr>
            <a:r>
              <a:rPr lang="en-US" sz="2800" dirty="0">
                <a:solidFill>
                  <a:srgbClr val="0070C0"/>
                </a:solidFill>
              </a:rPr>
              <a:t>2015 results: 42% </a:t>
            </a:r>
          </a:p>
          <a:p>
            <a:pPr algn="ctr" fontAlgn="base">
              <a:lnSpc>
                <a:spcPct val="107000"/>
              </a:lnSpc>
              <a:spcBef>
                <a:spcPct val="0"/>
              </a:spcBef>
              <a:spcAft>
                <a:spcPct val="0"/>
              </a:spcAft>
            </a:pPr>
            <a:r>
              <a:rPr lang="en-US" sz="1400" dirty="0">
                <a:solidFill>
                  <a:srgbClr val="0070C0"/>
                </a:solidFill>
              </a:rPr>
              <a:t>less CO</a:t>
            </a:r>
            <a:r>
              <a:rPr lang="en-US" sz="1400" baseline="-25000" dirty="0">
                <a:solidFill>
                  <a:srgbClr val="0070C0"/>
                </a:solidFill>
              </a:rPr>
              <a:t>2 </a:t>
            </a:r>
            <a:r>
              <a:rPr lang="en-US" sz="1400" dirty="0">
                <a:solidFill>
                  <a:srgbClr val="0070C0"/>
                </a:solidFill>
              </a:rPr>
              <a:t>per container per km vs. 2007 </a:t>
            </a:r>
          </a:p>
        </p:txBody>
      </p:sp>
      <p:sp>
        <p:nvSpPr>
          <p:cNvPr id="4" name="Rectangle 3"/>
          <p:cNvSpPr/>
          <p:nvPr/>
        </p:nvSpPr>
        <p:spPr>
          <a:xfrm>
            <a:off x="1766169" y="5510409"/>
            <a:ext cx="8868427" cy="646331"/>
          </a:xfrm>
          <a:prstGeom prst="rect">
            <a:avLst/>
          </a:prstGeom>
        </p:spPr>
        <p:txBody>
          <a:bodyPr wrap="square">
            <a:spAutoFit/>
          </a:bodyPr>
          <a:lstStyle/>
          <a:p>
            <a:pPr algn="ctr" fontAlgn="base">
              <a:lnSpc>
                <a:spcPct val="150000"/>
              </a:lnSpc>
              <a:spcBef>
                <a:spcPct val="20000"/>
              </a:spcBef>
              <a:spcAft>
                <a:spcPct val="0"/>
              </a:spcAft>
            </a:pPr>
            <a:r>
              <a:rPr lang="en-GB" sz="2400" i="1" dirty="0">
                <a:solidFill>
                  <a:srgbClr val="0070C0"/>
                </a:solidFill>
              </a:rPr>
              <a:t>2020 goal: Reduce </a:t>
            </a:r>
            <a:r>
              <a:rPr lang="en-GB" sz="2400" i="1" dirty="0" smtClean="0">
                <a:solidFill>
                  <a:srgbClr val="0070C0"/>
                </a:solidFill>
              </a:rPr>
              <a:t>fuel use and CO</a:t>
            </a:r>
            <a:r>
              <a:rPr lang="en-GB" sz="2400" i="1" baseline="-25000" dirty="0" smtClean="0">
                <a:solidFill>
                  <a:srgbClr val="0070C0"/>
                </a:solidFill>
              </a:rPr>
              <a:t>2</a:t>
            </a:r>
            <a:r>
              <a:rPr lang="en-GB" sz="2400" i="1" dirty="0" smtClean="0">
                <a:solidFill>
                  <a:srgbClr val="0070C0"/>
                </a:solidFill>
              </a:rPr>
              <a:t> </a:t>
            </a:r>
            <a:r>
              <a:rPr lang="en-GB" sz="2400" i="1" dirty="0">
                <a:solidFill>
                  <a:srgbClr val="0070C0"/>
                </a:solidFill>
              </a:rPr>
              <a:t>by 60% vs. 2007</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9408" y="1625253"/>
            <a:ext cx="4468032" cy="2653324"/>
          </a:xfrm>
          <a:prstGeom prst="rect">
            <a:avLst/>
          </a:prstGeom>
        </p:spPr>
      </p:pic>
      <p:grpSp>
        <p:nvGrpSpPr>
          <p:cNvPr id="2" name="Group 12"/>
          <p:cNvGrpSpPr>
            <a:grpSpLocks/>
          </p:cNvGrpSpPr>
          <p:nvPr/>
        </p:nvGrpSpPr>
        <p:grpSpPr bwMode="auto">
          <a:xfrm>
            <a:off x="4309145" y="4397249"/>
            <a:ext cx="1499250" cy="486860"/>
            <a:chOff x="-845929" y="2438400"/>
            <a:chExt cx="2321866" cy="841375"/>
          </a:xfrm>
          <a:solidFill>
            <a:schemeClr val="bg1"/>
          </a:solidFill>
        </p:grpSpPr>
        <p:sp>
          <p:nvSpPr>
            <p:cNvPr id="11" name="TextBox 10"/>
            <p:cNvSpPr txBox="1">
              <a:spLocks noChangeArrowheads="1"/>
            </p:cNvSpPr>
            <p:nvPr/>
          </p:nvSpPr>
          <p:spPr bwMode="auto">
            <a:xfrm>
              <a:off x="-845929" y="2523640"/>
              <a:ext cx="1471940" cy="436367"/>
            </a:xfrm>
            <a:prstGeom prst="rect">
              <a:avLst/>
            </a:prstGeom>
            <a:grpFill/>
            <a:ln w="9525">
              <a:noFill/>
              <a:miter lim="800000"/>
              <a:headEnd/>
              <a:tailEnd/>
            </a:ln>
          </p:spPr>
          <p:txBody>
            <a:bodyPr>
              <a:spAutoFit/>
            </a:bodyPr>
            <a:lstStyle/>
            <a:p>
              <a:pPr>
                <a:defRPr/>
              </a:pPr>
              <a:r>
                <a:rPr lang="en-GB" sz="1000" dirty="0">
                  <a:solidFill>
                    <a:srgbClr val="000000"/>
                  </a:solidFill>
                </a:rPr>
                <a:t>verified by:</a:t>
              </a:r>
            </a:p>
          </p:txBody>
        </p:sp>
        <p:pic>
          <p:nvPicPr>
            <p:cNvPr id="13" name="Picture 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0465" y="2438400"/>
              <a:ext cx="835472" cy="841375"/>
            </a:xfrm>
            <a:prstGeom prst="rect">
              <a:avLst/>
            </a:prstGeom>
            <a:grpFill/>
            <a:ln w="9525">
              <a:noFill/>
              <a:miter lim="800000"/>
              <a:headEnd/>
              <a:tailEnd/>
            </a:ln>
          </p:spPr>
        </p:pic>
      </p:grpSp>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65960" y="4459876"/>
            <a:ext cx="676406" cy="469726"/>
          </a:xfrm>
          <a:prstGeom prst="rect">
            <a:avLst/>
          </a:prstGeom>
        </p:spPr>
      </p:pic>
      <p:sp>
        <p:nvSpPr>
          <p:cNvPr id="5" name="TextBox 4"/>
          <p:cNvSpPr txBox="1"/>
          <p:nvPr/>
        </p:nvSpPr>
        <p:spPr>
          <a:xfrm>
            <a:off x="2404998" y="4521896"/>
            <a:ext cx="928139" cy="153888"/>
          </a:xfrm>
          <a:prstGeom prst="rect">
            <a:avLst/>
          </a:prstGeom>
          <a:noFill/>
        </p:spPr>
        <p:txBody>
          <a:bodyPr wrap="none" lIns="0" tIns="0" rIns="0" bIns="0" rtlCol="0">
            <a:spAutoFit/>
          </a:bodyPr>
          <a:lstStyle/>
          <a:p>
            <a:pPr>
              <a:spcBef>
                <a:spcPts val="60"/>
              </a:spcBef>
              <a:spcAft>
                <a:spcPts val="600"/>
              </a:spcAft>
            </a:pPr>
            <a:r>
              <a:rPr lang="en-US" sz="1000" dirty="0"/>
              <a:t>M</a:t>
            </a:r>
            <a:r>
              <a:rPr lang="en-US" sz="1000" dirty="0" smtClean="0"/>
              <a:t>ethodologies</a:t>
            </a:r>
          </a:p>
        </p:txBody>
      </p:sp>
    </p:spTree>
    <p:extLst>
      <p:ext uri="{BB962C8B-B14F-4D97-AF65-F5344CB8AC3E}">
        <p14:creationId xmlns:p14="http://schemas.microsoft.com/office/powerpoint/2010/main" val="10484411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9118" y="457202"/>
            <a:ext cx="8690191" cy="5791199"/>
          </a:xfrm>
          <a:prstGeom prst="rect">
            <a:avLst/>
          </a:prstGeom>
        </p:spPr>
      </p:pic>
      <p:sp>
        <p:nvSpPr>
          <p:cNvPr id="8196" name="Rectangle 4"/>
          <p:cNvSpPr>
            <a:spLocks noChangeArrowheads="1"/>
          </p:cNvSpPr>
          <p:nvPr/>
        </p:nvSpPr>
        <p:spPr bwMode="auto">
          <a:xfrm>
            <a:off x="1946275" y="1298575"/>
            <a:ext cx="4014788" cy="3498850"/>
          </a:xfrm>
          <a:prstGeom prst="rect">
            <a:avLst/>
          </a:prstGeom>
          <a:noFill/>
          <a:ln w="9525">
            <a:noFill/>
            <a:miter lim="800000"/>
            <a:headEnd/>
            <a:tailEnd/>
          </a:ln>
        </p:spPr>
        <p:txBody>
          <a:bodyPr lIns="0" tIns="0" rIns="0" bIns="0"/>
          <a:lstStyle/>
          <a:p>
            <a:pPr marL="206375" indent="-206375" algn="ctr" eaLnBrk="0" fontAlgn="base" hangingPunct="0">
              <a:lnSpc>
                <a:spcPct val="125000"/>
              </a:lnSpc>
              <a:spcBef>
                <a:spcPct val="0"/>
              </a:spcBef>
              <a:spcAft>
                <a:spcPct val="0"/>
              </a:spcAft>
              <a:buClr>
                <a:srgbClr val="69B8D6"/>
              </a:buClr>
              <a:buFont typeface="Wingdings" pitchFamily="2" charset="2"/>
              <a:buChar char="§"/>
            </a:pPr>
            <a:endParaRPr lang="da-DK">
              <a:solidFill>
                <a:srgbClr val="000000"/>
              </a:solidFill>
              <a:latin typeface="Book Antiqua" pitchFamily="18" charset="0"/>
              <a:ea typeface="Times New Roman" pitchFamily="18" charset="0"/>
              <a:cs typeface="Verdana" pitchFamily="34" charset="0"/>
            </a:endParaRPr>
          </a:p>
        </p:txBody>
      </p:sp>
      <p:sp>
        <p:nvSpPr>
          <p:cNvPr id="6" name="Rectangle 3"/>
          <p:cNvSpPr txBox="1">
            <a:spLocks noChangeArrowheads="1"/>
          </p:cNvSpPr>
          <p:nvPr/>
        </p:nvSpPr>
        <p:spPr bwMode="auto">
          <a:xfrm>
            <a:off x="400832" y="19455"/>
            <a:ext cx="11548997" cy="1282664"/>
          </a:xfrm>
          <a:prstGeom prst="rect">
            <a:avLst/>
          </a:prstGeom>
          <a:solidFill>
            <a:schemeClr val="bg1">
              <a:lumMod val="95000"/>
              <a:alpha val="79608"/>
            </a:schemeClr>
          </a:solidFill>
          <a:ln w="9525">
            <a:noFill/>
            <a:miter lim="800000"/>
            <a:headEnd/>
            <a:tailEnd/>
          </a:ln>
          <a:effectLst/>
        </p:spPr>
        <p:txBody>
          <a:bodyPr wrap="square" lIns="432000" tIns="216000" rIns="432000" bIns="252000" anchor="b">
            <a:spAutoFit/>
          </a:bodyPr>
          <a:lstStyle/>
          <a:p>
            <a:pPr eaLnBrk="0" fontAlgn="base" hangingPunct="0">
              <a:lnSpc>
                <a:spcPct val="94000"/>
              </a:lnSpc>
              <a:spcBef>
                <a:spcPct val="0"/>
              </a:spcBef>
              <a:spcAft>
                <a:spcPct val="0"/>
              </a:spcAft>
              <a:defRPr/>
            </a:pPr>
            <a:r>
              <a:rPr lang="en-US" sz="2800" kern="0" dirty="0">
                <a:solidFill>
                  <a:srgbClr val="000000"/>
                </a:solidFill>
              </a:rPr>
              <a:t>New ships have higher efficiencies and provide enormous economies of </a:t>
            </a:r>
            <a:r>
              <a:rPr lang="en-US" sz="2800" kern="0" dirty="0" smtClean="0">
                <a:solidFill>
                  <a:srgbClr val="000000"/>
                </a:solidFill>
              </a:rPr>
              <a:t>scale – and lower emissions per unit.</a:t>
            </a:r>
            <a:endParaRPr lang="en-US" sz="2800" kern="0" dirty="0">
              <a:solidFill>
                <a:srgbClr val="000000"/>
              </a:solidFill>
            </a:endParaRPr>
          </a:p>
        </p:txBody>
      </p:sp>
      <p:sp>
        <p:nvSpPr>
          <p:cNvPr id="8" name="Rectangle 3"/>
          <p:cNvSpPr txBox="1">
            <a:spLocks noChangeArrowheads="1"/>
          </p:cNvSpPr>
          <p:nvPr/>
        </p:nvSpPr>
        <p:spPr bwMode="auto">
          <a:xfrm>
            <a:off x="3352800" y="6096000"/>
            <a:ext cx="5638802" cy="935518"/>
          </a:xfrm>
          <a:prstGeom prst="rect">
            <a:avLst/>
          </a:prstGeom>
          <a:noFill/>
          <a:ln w="9525">
            <a:noFill/>
            <a:miter lim="800000"/>
            <a:headEnd/>
            <a:tailEnd/>
          </a:ln>
          <a:effectLst/>
        </p:spPr>
        <p:txBody>
          <a:bodyPr wrap="square" lIns="432000" tIns="216000" rIns="432000" bIns="252000" anchor="b">
            <a:spAutoFit/>
          </a:bodyPr>
          <a:lstStyle/>
          <a:p>
            <a:pPr algn="ctr" eaLnBrk="0" fontAlgn="base" hangingPunct="0">
              <a:lnSpc>
                <a:spcPct val="94000"/>
              </a:lnSpc>
              <a:spcBef>
                <a:spcPct val="0"/>
              </a:spcBef>
              <a:spcAft>
                <a:spcPct val="0"/>
              </a:spcAft>
              <a:defRPr/>
            </a:pPr>
            <a:r>
              <a:rPr lang="en-US" sz="1600" kern="0" dirty="0">
                <a:solidFill>
                  <a:srgbClr val="000000"/>
                </a:solidFill>
              </a:rPr>
              <a:t>Mary Maersk leaving Algeciras Spain</a:t>
            </a:r>
          </a:p>
          <a:p>
            <a:pPr algn="ctr" eaLnBrk="0" fontAlgn="base" hangingPunct="0">
              <a:lnSpc>
                <a:spcPct val="94000"/>
              </a:lnSpc>
              <a:spcBef>
                <a:spcPct val="0"/>
              </a:spcBef>
              <a:spcAft>
                <a:spcPct val="0"/>
              </a:spcAft>
              <a:defRPr/>
            </a:pPr>
            <a:r>
              <a:rPr lang="en-US" sz="1600" kern="0" dirty="0">
                <a:solidFill>
                  <a:srgbClr val="000000"/>
                </a:solidFill>
              </a:rPr>
              <a:t>21 July 2014 with 17,603 TEU</a:t>
            </a:r>
          </a:p>
        </p:txBody>
      </p:sp>
    </p:spTree>
    <p:extLst>
      <p:ext uri="{BB962C8B-B14F-4D97-AF65-F5344CB8AC3E}">
        <p14:creationId xmlns:p14="http://schemas.microsoft.com/office/powerpoint/2010/main" val="33752591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ONTAINEDIMAGEPATH" val="D:\_kunder\_dropbox\Dropbox (Maersk Oil &amp; Gas A S)\Maersk Oil (1)\GROUP\Images\Line\Mary Maersk\PP\IMG_1331_pp.jp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1lAofs8WyEqUqyysZcVr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jLTY.l0t0e7ubRiUhQ8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OIH5k7ZQEONrM6uNI5Kk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qPwVxxN_kC.ZCf84g4k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gDr7iJqlEaWik_n.PgTB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0Ypw8y02FECpRU36G8As1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Haaz6QA0iBWsv9fY.i5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gSZEdcGw0ys720U9THp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1N_WNm.yk._oYX583A5T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QKL2P_ekKNa1PGWHkP7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7VPvFd1pMk6UD248uQhe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jqMkviMZk62yv_Icxns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h5R1e0wukSM1CVo57ZuM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UOeCkfWEkiRAr4diaW.R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h_IZZcjcUatyigYXe4H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cSB5_NFka8x8rXG0uy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4KPZVSNF50m6ksd1Cp7nX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juGQOZ1T0O8HiXaIHqb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4yJBftmZkW99GX9N1ISF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7C9hsXfVE6eyYIfGKM_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DgIJ1tWYkesG0Eqicsmk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F56ran5C0qEeerdEemIr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TF2wUIcnEScoAUSzCyZQ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8iGnOfjIjkevuWe5ejOWp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9J7PmSbPgkiLpVwVW9teW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hMfjnQuDUiXlrCXPkief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2tz14a_0G0CPE3ifKs.B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giyMkoQn0mqyBYgassQM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AU0vtz8vUCx40oa1rTEk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GY6Y3LnAkeL.PqszR7V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s0bBerewkUGahpOII8SF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peBnOpM40GKyWMTxnP2d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GAiIKZ2ckKcsPDyDTKzJ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pius8x7Y0aDtHd.oy5R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CXpNF2k.kCqnLXIoJiPM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pius8x7Y0aDtHd.oy5R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Jt6Zsa0Q5EuoSdX4vVKY2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KtPybPoXJU62UlkGpyO4W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H.xUiI0HkSfBkOigYjR1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DEjRvegF0qkmgmCudFT4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pius8x7Y0aDtHd.oy5Ri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t6Zsa0Q5EuoSdX4vVKY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1OzNmuDJEChBL2gxizQt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KtPybPoXJU62UlkGpyO4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H.xUiI0HkSfBkOigYjR1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DEjRvegF0qkmgmCudFT4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Jt6Zsa0Q5EuoSdX4vVKY2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tPybPoXJU62UlkGpyO4W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pH.xUiI0HkSfBkOigYjR1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DEjRvegF0qkmgmCudFT4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pius8x7Y0aDtHd.oy5R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t6Zsa0Q5EuoSdX4vVKY2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KtPybPoXJU62UlkGpyO4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q70P66dzUaOuTyJ2XnIL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H.xUiI0HkSfBkOigYjR1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DEjRvegF0qkmgmCudFT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E8YTTc56U2ScFHjrKnq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4DrfF3BGEucnqk1YzPI7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FXgIXRKwUSx5u4srZ0C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6d2uzyYdU6I1_R6ItIw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_QgCe.4YEiFxq3VqAsua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bOmt2ROUE2FCPzWRG.q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PisD4s6nkmaKzOtt_UA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PDPgVyw_E6AyTd8Ux1l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h_Lk2E04UOj24GIVKfh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ZAW8I.syEyT7HkJSLPk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jupUnDyxEeY0yirPQrT1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zpNTBd6ZU2nVbWSAuv79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b4jR1g0aEyrFcSQM3mk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R.5QidCdkGe9mMuo5Fg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005Ia5wdkepqqbeYl7x_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36iXl1aEkGoPZVN51eW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62Hlcj1TEaJnUIitttp2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4OqCPlfW0uxjMswzLxy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6G9C5Kkjk6q0zQetqHk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IMf9NwUukWE61Wat0aU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RQQAv21lUSADvdYgZ.w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YtDM9WqokiX1mnM954k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fakYPXM60qgb8GR_LIB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q6A._rW9UO63oPdlTvl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ZfWeZV1y0a1Q8EoHfP74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YNRq6.sEG4LxWvSX.0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gv7ZiYxHkWN.uaiStWn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onShVEdJE.1A02jvGqP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fOsp46lX0KW4sXfFgNK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40UHv2UJ0.5UcRgV76v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v_tKAOQLU6jo6PP8Pn86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daSrOQV20OD1xugbYY1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fFDunVEd0K7JgIZ.UpH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2qUDh1iqEuP2oDkVO4_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bRG_DIqLESbyvUTs0gx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dmMViLN3EqSyzcKx49e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3qObwEtexUmRnSY2fwtR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_8WJBkOjUqu6r0Hm5tqC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eh4VOfJ1k6Fdno5WlX4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y6A3oH05UWG7IXlHoLNc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hN3K6KlAku43NMMY7bt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38yOt7Izk2puBg_o2Zib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BZygHvGzkSK8lJPx9kc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00mWvKefEmZ1Vnytjtw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mK_TBFqzUC59pXvusANX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hVatCEwaEmkE_qLZk22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0SiDqmXMCk2cHG6G.bM_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jvCCvCDyEWSubkr1mO5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L_dbjnK0i3BjAE27BB8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uc2REUBNEavlCsYBD_S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InDiNyBqESDDU18PU65J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g89tH0iMU2Xr.IzSa_.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0tPqNBzXEitRxhCpDB7e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sU1YGAfPE6VtxMS8lx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3.q_.GFq0qhojWbYwV3L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bbcqnYs1UCKv6_JOUIp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aqS5KhlJkEmEMzZ8pT721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gdw.lscjUOmqCAHtQ8p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zos6AfA1ESPo9l6_rwo2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Y4rOj61l0GXXXnIDP85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n_kKfahPE6qTwieIDMm1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PH80E01yECdEudqnkEj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w7Wt81zAjkCJTcQ1.75W1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lj3VMynm0.l6HbvWGLK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DQODRIBl0OFwrJ8oetb6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HbHm0yInUqvfzZuY0bc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9NmO8V8P0aTYY7dBp.y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6C5y8vsphUyL2J1Ihuqc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9e5z2tz7kWkOrRpV_uJ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rds6IRwcEW.f0eHxIfJ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eZJ.ZUda06qm2x2TaOz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MuibwIY8UKu0bw2whYU_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DAAuSjgEON5ffGILQ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kHtejTh3EeXPT6U3wzfnQ"/>
</p:tagLst>
</file>

<file path=ppt/tags/tag9.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t7SMBTfCckGXYARqbINgD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2.dPffcEdk.tJgHzqm5.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mXSTrxKukOpdJvL3GRiv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8z5EZQs10SGRgHt514p4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44nvxpfsdUSlPgQcKurQV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DAljCRfwUeT98j4E4xlB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0ww7IGXbEGsIvT6NMtRQ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3VQoOh72UWhgwJkAJtS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wTqCHNFNEeyFJPbmWqu4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kl.J60qQtUWA0H1yFcwY3g"/>
</p:tagLst>
</file>

<file path=ppt/theme/theme1.xml><?xml version="1.0" encoding="utf-8"?>
<a:theme xmlns:a="http://schemas.openxmlformats.org/drawingml/2006/main" name="4_Maersk Line - Blue">
  <a:themeElements>
    <a:clrScheme name="Maersk Line blue">
      <a:dk1>
        <a:srgbClr val="000000"/>
      </a:dk1>
      <a:lt1>
        <a:srgbClr val="FFFFFF"/>
      </a:lt1>
      <a:dk2>
        <a:srgbClr val="999999"/>
      </a:dk2>
      <a:lt2>
        <a:srgbClr val="C3E3EF"/>
      </a:lt2>
      <a:accent1>
        <a:srgbClr val="2F454E"/>
      </a:accent1>
      <a:accent2>
        <a:srgbClr val="F0F0F0"/>
      </a:accent2>
      <a:accent3>
        <a:srgbClr val="C3C3C3"/>
      </a:accent3>
      <a:accent4>
        <a:srgbClr val="004E6B"/>
      </a:accent4>
      <a:accent5>
        <a:srgbClr val="B50030"/>
      </a:accent5>
      <a:accent6>
        <a:srgbClr val="FCB91C"/>
      </a:accent6>
      <a:hlink>
        <a:srgbClr val="004E6B"/>
      </a:hlink>
      <a:folHlink>
        <a:srgbClr val="002735"/>
      </a:folHlink>
    </a:clrScheme>
    <a:fontScheme name="Maersk Line - Font">
      <a:majorFont>
        <a:latin typeface="Zetta Serif"/>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60"/>
          </a:spcBef>
          <a:spcAft>
            <a:spcPts val="600"/>
          </a:spcAft>
          <a:defRPr dirty="0" err="1" smtClean="0"/>
        </a:defPPr>
      </a:lstStyle>
    </a:txDef>
  </a:objectDefaults>
  <a:extraClrSchemeLst/>
  <a:extLst>
    <a:ext uri="{05A4C25C-085E-4340-85A3-A5531E510DB2}">
      <thm15:themeFamily xmlns:thm15="http://schemas.microsoft.com/office/thememl/2012/main" name="Maersk Line wide screen (16-9).potx" id="{FE705C13-AA78-4DB8-BCBE-6027AC7F51A3}" vid="{71E9FCF5-A7C4-4F1F-AF45-109775D60AC6}"/>
    </a:ext>
  </a:extLst>
</a:theme>
</file>

<file path=ppt/theme/theme10.xml><?xml version="1.0" encoding="utf-8"?>
<a:theme xmlns:a="http://schemas.openxmlformats.org/drawingml/2006/main" name="3_Maersk Line template (prim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ersk Line template (primary)">
      <a:majorFont>
        <a:latin typeface="Verdana"/>
        <a:ea typeface=""/>
        <a:cs typeface=""/>
      </a:majorFont>
      <a:minorFont>
        <a:latin typeface="Verdana"/>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4_Maersk Line template (primary)">
  <a:themeElements>
    <a:clrScheme name="">
      <a:dk1>
        <a:srgbClr val="000000"/>
      </a:dk1>
      <a:lt1>
        <a:srgbClr val="FFFFFF"/>
      </a:lt1>
      <a:dk2>
        <a:srgbClr val="B9DCEA"/>
      </a:dk2>
      <a:lt2>
        <a:srgbClr val="69B8D6"/>
      </a:lt2>
      <a:accent1>
        <a:srgbClr val="C3C3C3"/>
      </a:accent1>
      <a:accent2>
        <a:srgbClr val="EDEDED"/>
      </a:accent2>
      <a:accent3>
        <a:srgbClr val="FFFFFF"/>
      </a:accent3>
      <a:accent4>
        <a:srgbClr val="000000"/>
      </a:accent4>
      <a:accent5>
        <a:srgbClr val="DEDEDE"/>
      </a:accent5>
      <a:accent6>
        <a:srgbClr val="D7D7D7"/>
      </a:accent6>
      <a:hlink>
        <a:srgbClr val="2F454E"/>
      </a:hlink>
      <a:folHlink>
        <a:srgbClr val="64747B"/>
      </a:folHlink>
    </a:clrScheme>
    <a:fontScheme name="Maersk Line template (primar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lnDef>
    <a:txDef>
      <a:spPr>
        <a:noFill/>
      </a:spPr>
      <a:bodyPr wrap="square" rtlCol="0">
        <a:spAutoFit/>
      </a:bodyPr>
      <a:lstStyle>
        <a:defPPr>
          <a:defRPr dirty="0" err="1" smtClean="0"/>
        </a:defPPr>
      </a:lstStyle>
    </a:txDef>
  </a:objectDefaults>
  <a:extraClrSchemeLst>
    <a:extraClrScheme>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4_Maersk Line template (prim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ersk Line template (primary)">
      <a:majorFont>
        <a:latin typeface="Verdana"/>
        <a:ea typeface=""/>
        <a:cs typeface=""/>
      </a:majorFont>
      <a:minorFont>
        <a:latin typeface="Verdana"/>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5_Maersk Line template (prim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ersk Line template (primary)">
      <a:majorFont>
        <a:latin typeface="Verdana"/>
        <a:ea typeface=""/>
        <a:cs typeface=""/>
      </a:majorFont>
      <a:minorFont>
        <a:latin typeface="Verdana"/>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Maersk Line template (prim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ersk Line template (primary)">
      <a:majorFont>
        <a:latin typeface="Verdana"/>
        <a:ea typeface=""/>
        <a:cs typeface=""/>
      </a:majorFont>
      <a:minorFont>
        <a:latin typeface="Verdana"/>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x9 Maersk Line White">
  <a:themeElements>
    <a:clrScheme name="Maersk Line_primary colors">
      <a:dk1>
        <a:srgbClr val="000000"/>
      </a:dk1>
      <a:lt1>
        <a:srgbClr val="FFFFFF"/>
      </a:lt1>
      <a:dk2>
        <a:srgbClr val="B50030"/>
      </a:dk2>
      <a:lt2>
        <a:srgbClr val="429B45"/>
      </a:lt2>
      <a:accent1>
        <a:srgbClr val="2F454E"/>
      </a:accent1>
      <a:accent2>
        <a:srgbClr val="69B8D6"/>
      </a:accent2>
      <a:accent3>
        <a:srgbClr val="C3E3EF"/>
      </a:accent3>
      <a:accent4>
        <a:srgbClr val="666666"/>
      </a:accent4>
      <a:accent5>
        <a:srgbClr val="999999"/>
      </a:accent5>
      <a:accent6>
        <a:srgbClr val="C3C3C3"/>
      </a:accent6>
      <a:hlink>
        <a:srgbClr val="999999"/>
      </a:hlink>
      <a:folHlink>
        <a:srgbClr val="666666"/>
      </a:folHlink>
    </a:clrScheme>
    <a:fontScheme name="Font_Maersk">
      <a:majorFont>
        <a:latin typeface="Zetta Sans"/>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60"/>
          </a:spcBef>
          <a:spcAft>
            <a:spcPts val="600"/>
          </a:spcAft>
          <a:defRPr dirty="0" err="1" smtClean="0"/>
        </a:defPPr>
      </a:lstStyle>
    </a:txDef>
  </a:objectDefaults>
  <a:extraClrSchemeLst/>
</a:theme>
</file>

<file path=ppt/theme/theme3.xml><?xml version="1.0" encoding="utf-8"?>
<a:theme xmlns:a="http://schemas.openxmlformats.org/drawingml/2006/main" name="9_Maersk Line - Blue">
  <a:themeElements>
    <a:clrScheme name="MAERSK LINE COLORS">
      <a:dk1>
        <a:srgbClr val="000000"/>
      </a:dk1>
      <a:lt1>
        <a:srgbClr val="FFFFFF"/>
      </a:lt1>
      <a:dk2>
        <a:srgbClr val="B50030"/>
      </a:dk2>
      <a:lt2>
        <a:srgbClr val="5BAACA"/>
      </a:lt2>
      <a:accent1>
        <a:srgbClr val="2F454E"/>
      </a:accent1>
      <a:accent2>
        <a:srgbClr val="69B8D6"/>
      </a:accent2>
      <a:accent3>
        <a:srgbClr val="C3E3EF"/>
      </a:accent3>
      <a:accent4>
        <a:srgbClr val="666666"/>
      </a:accent4>
      <a:accent5>
        <a:srgbClr val="999999"/>
      </a:accent5>
      <a:accent6>
        <a:srgbClr val="C3C3C3"/>
      </a:accent6>
      <a:hlink>
        <a:srgbClr val="999999"/>
      </a:hlink>
      <a:folHlink>
        <a:srgbClr val="666666"/>
      </a:folHlink>
    </a:clrScheme>
    <a:fontScheme name="Font_Maersk">
      <a:majorFont>
        <a:latin typeface="Zetta Sans"/>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60"/>
          </a:spcBef>
          <a:spcAft>
            <a:spcPts val="600"/>
          </a:spcAft>
          <a:defRPr dirty="0" err="1" smtClean="0"/>
        </a:defPPr>
      </a:lstStyle>
    </a:txDef>
  </a:objectDefaults>
  <a:extraClrSchemeLst/>
</a:theme>
</file>

<file path=ppt/theme/theme4.xml><?xml version="1.0" encoding="utf-8"?>
<a:theme xmlns:a="http://schemas.openxmlformats.org/drawingml/2006/main" name="3_Maersk-sustainability-2014">
  <a:themeElements>
    <a:clrScheme name="Maersk Line_primary colors">
      <a:dk1>
        <a:srgbClr val="000000"/>
      </a:dk1>
      <a:lt1>
        <a:srgbClr val="FFFFFF"/>
      </a:lt1>
      <a:dk2>
        <a:srgbClr val="B50030"/>
      </a:dk2>
      <a:lt2>
        <a:srgbClr val="429B45"/>
      </a:lt2>
      <a:accent1>
        <a:srgbClr val="2F454E"/>
      </a:accent1>
      <a:accent2>
        <a:srgbClr val="69B8D6"/>
      </a:accent2>
      <a:accent3>
        <a:srgbClr val="C3E3EF"/>
      </a:accent3>
      <a:accent4>
        <a:srgbClr val="666666"/>
      </a:accent4>
      <a:accent5>
        <a:srgbClr val="999999"/>
      </a:accent5>
      <a:accent6>
        <a:srgbClr val="C3C3C3"/>
      </a:accent6>
      <a:hlink>
        <a:srgbClr val="999999"/>
      </a:hlink>
      <a:folHlink>
        <a:srgbClr val="666666"/>
      </a:folHlink>
    </a:clrScheme>
    <a:fontScheme name="Font_Maersk">
      <a:majorFont>
        <a:latin typeface="Zetta Sans"/>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60"/>
          </a:spcBef>
          <a:spcAft>
            <a:spcPts val="600"/>
          </a:spcAft>
          <a:defRPr dirty="0" err="1" smtClean="0"/>
        </a:defPPr>
      </a:lstStyle>
    </a:txDef>
  </a:objectDefaults>
  <a:extraClrSchemeLst/>
</a:theme>
</file>

<file path=ppt/theme/theme5.xml><?xml version="1.0" encoding="utf-8"?>
<a:theme xmlns:a="http://schemas.openxmlformats.org/drawingml/2006/main" name="4_Maersk Line - Grey">
  <a:themeElements>
    <a:clrScheme name="Maersk Line grey">
      <a:dk1>
        <a:srgbClr val="000000"/>
      </a:dk1>
      <a:lt1>
        <a:srgbClr val="FFFFFF"/>
      </a:lt1>
      <a:dk2>
        <a:srgbClr val="2F454E"/>
      </a:dk2>
      <a:lt2>
        <a:srgbClr val="69B8D6"/>
      </a:lt2>
      <a:accent1>
        <a:srgbClr val="004E6B"/>
      </a:accent1>
      <a:accent2>
        <a:srgbClr val="52C1B8"/>
      </a:accent2>
      <a:accent3>
        <a:srgbClr val="B50030"/>
      </a:accent3>
      <a:accent4>
        <a:srgbClr val="FCB91C"/>
      </a:accent4>
      <a:accent5>
        <a:srgbClr val="429B45"/>
      </a:accent5>
      <a:accent6>
        <a:srgbClr val="999999"/>
      </a:accent6>
      <a:hlink>
        <a:srgbClr val="999999"/>
      </a:hlink>
      <a:folHlink>
        <a:srgbClr val="666666"/>
      </a:folHlink>
    </a:clrScheme>
    <a:fontScheme name="Font_Maersk">
      <a:majorFont>
        <a:latin typeface="Zetta Sans"/>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bwMode="auto">
        <a:solidFill>
          <a:schemeClr val="tx1">
            <a:lumMod val="50000"/>
            <a:lumOff val="50000"/>
            <a:alpha val="12000"/>
          </a:schemeClr>
        </a:solidFill>
        <a:ln>
          <a:noFill/>
        </a:ln>
        <a:extLst/>
      </a:spPr>
      <a:bodyPr vert="horz" wrap="square" lIns="0" tIns="0" rIns="0" bIns="0" numCol="1" anchor="t" anchorCtr="0" compatLnSpc="1">
        <a:prstTxWarp prst="textNoShape">
          <a:avLst/>
        </a:prstTxWarp>
      </a:bodyPr>
      <a:lstStyle>
        <a:defPPr>
          <a:lnSpc>
            <a:spcPct val="100000"/>
          </a:lnSpc>
          <a:spcAft>
            <a:spcPts val="600"/>
          </a:spcAft>
          <a:buClr>
            <a:srgbClr val="2F454E"/>
          </a:buClr>
          <a:defRPr sz="1800" b="1" dirty="0" smtClean="0">
            <a:solidFill>
              <a:srgbClr val="004E6B"/>
            </a:solidFill>
          </a:defRPr>
        </a:defPPr>
      </a:lstStyle>
    </a:txDef>
  </a:objectDefaults>
  <a:extraClrSchemeLst/>
  <a:extLst>
    <a:ext uri="{05A4C25C-085E-4340-85A3-A5531E510DB2}">
      <thm15:themeFamily xmlns:thm15="http://schemas.microsoft.com/office/thememl/2012/main" name="Maersk Line wide screen (16-9).potx" id="{FE705C13-AA78-4DB8-BCBE-6027AC7F51A3}" vid="{A7FF705B-6158-4A9D-A7BF-79A6DBBB14AC}"/>
    </a:ext>
  </a:extLst>
</a:theme>
</file>

<file path=ppt/theme/theme6.xml><?xml version="1.0" encoding="utf-8"?>
<a:theme xmlns:a="http://schemas.openxmlformats.org/drawingml/2006/main" name="6_Blank">
  <a:themeElements>
    <a:clrScheme name="Maersk Line white">
      <a:dk1>
        <a:srgbClr val="000000"/>
      </a:dk1>
      <a:lt1>
        <a:srgbClr val="FFFFFF"/>
      </a:lt1>
      <a:dk2>
        <a:srgbClr val="2F454E"/>
      </a:dk2>
      <a:lt2>
        <a:srgbClr val="69B8D6"/>
      </a:lt2>
      <a:accent1>
        <a:srgbClr val="004E6B"/>
      </a:accent1>
      <a:accent2>
        <a:srgbClr val="52C1B8"/>
      </a:accent2>
      <a:accent3>
        <a:srgbClr val="B50030"/>
      </a:accent3>
      <a:accent4>
        <a:srgbClr val="FCB91C"/>
      </a:accent4>
      <a:accent5>
        <a:srgbClr val="429B45"/>
      </a:accent5>
      <a:accent6>
        <a:srgbClr val="999999"/>
      </a:accent6>
      <a:hlink>
        <a:srgbClr val="999999"/>
      </a:hlink>
      <a:folHlink>
        <a:srgbClr val="666666"/>
      </a:folHlink>
    </a:clrScheme>
    <a:fontScheme name="Font_Maersk">
      <a:majorFont>
        <a:latin typeface="Zetta Sans"/>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60"/>
          </a:spcBef>
          <a:spcAft>
            <a:spcPts val="600"/>
          </a:spcAft>
          <a:defRPr dirty="0" err="1" smtClean="0"/>
        </a:defPPr>
      </a:lstStyle>
    </a:txDef>
  </a:objectDefaults>
  <a:extraClrSchemeLst/>
</a:theme>
</file>

<file path=ppt/theme/theme7.xml><?xml version="1.0" encoding="utf-8"?>
<a:theme xmlns:a="http://schemas.openxmlformats.org/drawingml/2006/main" name="3_Blank">
  <a:themeElements>
    <a:clrScheme name="Maersk Line white">
      <a:dk1>
        <a:srgbClr val="000000"/>
      </a:dk1>
      <a:lt1>
        <a:srgbClr val="FFFFFF"/>
      </a:lt1>
      <a:dk2>
        <a:srgbClr val="2F454E"/>
      </a:dk2>
      <a:lt2>
        <a:srgbClr val="69B8D6"/>
      </a:lt2>
      <a:accent1>
        <a:srgbClr val="004E6B"/>
      </a:accent1>
      <a:accent2>
        <a:srgbClr val="52C1B8"/>
      </a:accent2>
      <a:accent3>
        <a:srgbClr val="B50030"/>
      </a:accent3>
      <a:accent4>
        <a:srgbClr val="FCB91C"/>
      </a:accent4>
      <a:accent5>
        <a:srgbClr val="429B45"/>
      </a:accent5>
      <a:accent6>
        <a:srgbClr val="999999"/>
      </a:accent6>
      <a:hlink>
        <a:srgbClr val="999999"/>
      </a:hlink>
      <a:folHlink>
        <a:srgbClr val="666666"/>
      </a:folHlink>
    </a:clrScheme>
    <a:fontScheme name="Font_Maersk">
      <a:majorFont>
        <a:latin typeface="Zetta Sans"/>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bwMode="auto">
        <a:solidFill>
          <a:schemeClr val="tx1">
            <a:lumMod val="50000"/>
            <a:lumOff val="50000"/>
            <a:alpha val="12000"/>
          </a:schemeClr>
        </a:solidFill>
        <a:ln>
          <a:noFill/>
        </a:ln>
        <a:extLst/>
      </a:spPr>
      <a:bodyPr vert="horz" wrap="square" lIns="144000" tIns="144000" rIns="144000" bIns="144000" numCol="1" anchor="t" anchorCtr="0" compatLnSpc="1">
        <a:prstTxWarp prst="textNoShape">
          <a:avLst/>
        </a:prstTxWarp>
      </a:bodyPr>
      <a:lstStyle>
        <a:defPPr>
          <a:lnSpc>
            <a:spcPct val="100000"/>
          </a:lnSpc>
          <a:spcAft>
            <a:spcPts val="600"/>
          </a:spcAft>
          <a:buClr>
            <a:srgbClr val="2F454E"/>
          </a:buClr>
          <a:defRPr sz="1800" b="1" dirty="0" smtClean="0">
            <a:solidFill>
              <a:srgbClr val="004E6B"/>
            </a:solidFill>
          </a:defRPr>
        </a:defPPr>
      </a:lstStyle>
    </a:txDef>
  </a:objectDefaults>
  <a:extraClrSchemeLst/>
  <a:extLst>
    <a:ext uri="{05A4C25C-085E-4340-85A3-A5531E510DB2}">
      <thm15:themeFamily xmlns:thm15="http://schemas.microsoft.com/office/thememl/2012/main" name="Maersk Line wide screen (16-9).potx" id="{FE705C13-AA78-4DB8-BCBE-6027AC7F51A3}" vid="{9C53779C-64B4-4915-83D4-C4A8B2192B4A}"/>
    </a:ext>
  </a:extLst>
</a:theme>
</file>

<file path=ppt/theme/theme8.xml><?xml version="1.0" encoding="utf-8"?>
<a:theme xmlns:a="http://schemas.openxmlformats.org/drawingml/2006/main" name="5_Maersk Line - White">
  <a:themeElements>
    <a:clrScheme name="MAERSK LINE COLORS">
      <a:dk1>
        <a:srgbClr val="000000"/>
      </a:dk1>
      <a:lt1>
        <a:srgbClr val="FFFFFF"/>
      </a:lt1>
      <a:dk2>
        <a:srgbClr val="B50030"/>
      </a:dk2>
      <a:lt2>
        <a:srgbClr val="5BAACA"/>
      </a:lt2>
      <a:accent1>
        <a:srgbClr val="2F454E"/>
      </a:accent1>
      <a:accent2>
        <a:srgbClr val="69B8D6"/>
      </a:accent2>
      <a:accent3>
        <a:srgbClr val="C3E3EF"/>
      </a:accent3>
      <a:accent4>
        <a:srgbClr val="666666"/>
      </a:accent4>
      <a:accent5>
        <a:srgbClr val="999999"/>
      </a:accent5>
      <a:accent6>
        <a:srgbClr val="C3C3C3"/>
      </a:accent6>
      <a:hlink>
        <a:srgbClr val="999999"/>
      </a:hlink>
      <a:folHlink>
        <a:srgbClr val="666666"/>
      </a:folHlink>
    </a:clrScheme>
    <a:fontScheme name="Custom 1">
      <a:majorFont>
        <a:latin typeface="Zetta Serif Poster"/>
        <a:ea typeface=""/>
        <a:cs typeface=""/>
      </a:majorFont>
      <a:minorFont>
        <a:latin typeface="Zett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spcBef>
            <a:spcPts val="60"/>
          </a:spcBef>
          <a:spcAft>
            <a:spcPts val="600"/>
          </a:spcAft>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spcBef>
            <a:spcPts val="60"/>
          </a:spcBef>
          <a:spcAft>
            <a:spcPts val="600"/>
          </a:spcAft>
          <a:defRPr dirty="0" err="1" smtClean="0"/>
        </a:defPPr>
      </a:lstStyle>
    </a:txDef>
  </a:objectDefaults>
  <a:extraClrSchemeLst/>
</a:theme>
</file>

<file path=ppt/theme/theme9.xml><?xml version="1.0" encoding="utf-8"?>
<a:theme xmlns:a="http://schemas.openxmlformats.org/drawingml/2006/main" name="2_Maersk Line template (prim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ersk Line template (primary)">
      <a:majorFont>
        <a:latin typeface="Verdana"/>
        <a:ea typeface=""/>
        <a:cs typeface=""/>
      </a:majorFont>
      <a:minorFont>
        <a:latin typeface="Verdana"/>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7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themeOverride>
</file>

<file path=ppt/theme/themeOverride2.xml><?xml version="1.0" encoding="utf-8"?>
<a:themeOverride xmlns:a="http://schemas.openxmlformats.org/drawingml/2006/main">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themeOverride>
</file>

<file path=ppt/theme/themeOverride3.xml><?xml version="1.0" encoding="utf-8"?>
<a:themeOverride xmlns:a="http://schemas.openxmlformats.org/drawingml/2006/main">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themeOverride>
</file>

<file path=ppt/theme/themeOverride4.xml><?xml version="1.0" encoding="utf-8"?>
<a:themeOverride xmlns:a="http://schemas.openxmlformats.org/drawingml/2006/main">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themeOverride>
</file>

<file path=ppt/theme/themeOverride5.xml><?xml version="1.0" encoding="utf-8"?>
<a:themeOverride xmlns:a="http://schemas.openxmlformats.org/drawingml/2006/main">
  <a:clrScheme name="Maersk Line template (primary) 1">
    <a:dk1>
      <a:srgbClr val="000000"/>
    </a:dk1>
    <a:lt1>
      <a:srgbClr val="FFFFFF"/>
    </a:lt1>
    <a:dk2>
      <a:srgbClr val="B9DCEA"/>
    </a:dk2>
    <a:lt2>
      <a:srgbClr val="69B8D6"/>
    </a:lt2>
    <a:accent1>
      <a:srgbClr val="C3C3C3"/>
    </a:accent1>
    <a:accent2>
      <a:srgbClr val="E1E1E1"/>
    </a:accent2>
    <a:accent3>
      <a:srgbClr val="FFFFFF"/>
    </a:accent3>
    <a:accent4>
      <a:srgbClr val="000000"/>
    </a:accent4>
    <a:accent5>
      <a:srgbClr val="DEDEDE"/>
    </a:accent5>
    <a:accent6>
      <a:srgbClr val="CCCCCC"/>
    </a:accent6>
    <a:hlink>
      <a:srgbClr val="2F454E"/>
    </a:hlink>
    <a:folHlink>
      <a:srgbClr val="828F95"/>
    </a:folHlink>
  </a:clrScheme>
</a:themeOverride>
</file>

<file path=ppt/theme/themeOverride6.xml><?xml version="1.0" encoding="utf-8"?>
<a:themeOverride xmlns:a="http://schemas.openxmlformats.org/drawingml/2006/main">
  <a:clrScheme name="Maersk Line_primary colors">
    <a:dk1>
      <a:srgbClr val="000000"/>
    </a:dk1>
    <a:lt1>
      <a:srgbClr val="FFFFFF"/>
    </a:lt1>
    <a:dk2>
      <a:srgbClr val="B50030"/>
    </a:dk2>
    <a:lt2>
      <a:srgbClr val="429B45"/>
    </a:lt2>
    <a:accent1>
      <a:srgbClr val="2F454E"/>
    </a:accent1>
    <a:accent2>
      <a:srgbClr val="69B8D6"/>
    </a:accent2>
    <a:accent3>
      <a:srgbClr val="C3E3EF"/>
    </a:accent3>
    <a:accent4>
      <a:srgbClr val="666666"/>
    </a:accent4>
    <a:accent5>
      <a:srgbClr val="999999"/>
    </a:accent5>
    <a:accent6>
      <a:srgbClr val="C3C3C3"/>
    </a:accent6>
    <a:hlink>
      <a:srgbClr val="999999"/>
    </a:hlink>
    <a:folHlink>
      <a:srgbClr val="666666"/>
    </a:folHlink>
  </a:clrScheme>
</a:themeOverride>
</file>

<file path=ppt/theme/themeOverride7.xml><?xml version="1.0" encoding="utf-8"?>
<a:themeOverride xmlns:a="http://schemas.openxmlformats.org/drawingml/2006/main">
  <a:clrScheme name="ML presentation template - 20100127 1">
    <a:dk1>
      <a:srgbClr val="000000"/>
    </a:dk1>
    <a:lt1>
      <a:srgbClr val="FFFFFF"/>
    </a:lt1>
    <a:dk2>
      <a:srgbClr val="000000"/>
    </a:dk2>
    <a:lt2>
      <a:srgbClr val="FFFFFF"/>
    </a:lt2>
    <a:accent1>
      <a:srgbClr val="C3C3C3"/>
    </a:accent1>
    <a:accent2>
      <a:srgbClr val="69B8D6"/>
    </a:accent2>
    <a:accent3>
      <a:srgbClr val="FFFFFF"/>
    </a:accent3>
    <a:accent4>
      <a:srgbClr val="000000"/>
    </a:accent4>
    <a:accent5>
      <a:srgbClr val="DEDEDE"/>
    </a:accent5>
    <a:accent6>
      <a:srgbClr val="5EA6C2"/>
    </a:accent6>
    <a:hlink>
      <a:srgbClr val="64747B"/>
    </a:hlink>
    <a:folHlink>
      <a:srgbClr val="2F454E"/>
    </a:folHlink>
  </a:clrScheme>
  <a:fontScheme name="ML presentation template - 2010012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202</TotalTime>
  <Words>1493</Words>
  <Application>Microsoft Office PowerPoint</Application>
  <PresentationFormat>Widescreen</PresentationFormat>
  <Paragraphs>254</Paragraphs>
  <Slides>19</Slides>
  <Notes>17</Notes>
  <HiddenSlides>0</HiddenSlides>
  <MMClips>0</MMClips>
  <ScaleCrop>false</ScaleCrop>
  <HeadingPairs>
    <vt:vector size="8" baseType="variant">
      <vt:variant>
        <vt:lpstr>Fonts Used</vt:lpstr>
      </vt:variant>
      <vt:variant>
        <vt:i4>17</vt:i4>
      </vt:variant>
      <vt:variant>
        <vt:lpstr>Theme</vt:lpstr>
      </vt:variant>
      <vt:variant>
        <vt:i4>14</vt:i4>
      </vt:variant>
      <vt:variant>
        <vt:lpstr>Embedded OLE Servers</vt:lpstr>
      </vt:variant>
      <vt:variant>
        <vt:i4>2</vt:i4>
      </vt:variant>
      <vt:variant>
        <vt:lpstr>Slide Titles</vt:lpstr>
      </vt:variant>
      <vt:variant>
        <vt:i4>19</vt:i4>
      </vt:variant>
    </vt:vector>
  </HeadingPairs>
  <TitlesOfParts>
    <vt:vector size="52" baseType="lpstr">
      <vt:lpstr>Arial</vt:lpstr>
      <vt:lpstr>Book Antiqua</vt:lpstr>
      <vt:lpstr>Calibri</vt:lpstr>
      <vt:lpstr>Times New Roman</vt:lpstr>
      <vt:lpstr>Verdana</vt:lpstr>
      <vt:lpstr>Wingdings</vt:lpstr>
      <vt:lpstr>Wingdings 3</vt:lpstr>
      <vt:lpstr>Zetta Sans</vt:lpstr>
      <vt:lpstr>Zetta Sans Book</vt:lpstr>
      <vt:lpstr>Zetta Serif</vt:lpstr>
      <vt:lpstr>Zetta Serif Bold</vt:lpstr>
      <vt:lpstr>Zetta Serif Book</vt:lpstr>
      <vt:lpstr>Zetta Serif DemiBold</vt:lpstr>
      <vt:lpstr>Zetta Serif Light</vt:lpstr>
      <vt:lpstr>Zetta Serif Light italic</vt:lpstr>
      <vt:lpstr>Zetta Serif Poster</vt:lpstr>
      <vt:lpstr>ヒラギノ角ゴ Pro W3</vt:lpstr>
      <vt:lpstr>4_Maersk Line - Blue</vt:lpstr>
      <vt:lpstr>16x9 Maersk Line White</vt:lpstr>
      <vt:lpstr>9_Maersk Line - Blue</vt:lpstr>
      <vt:lpstr>3_Maersk-sustainability-2014</vt:lpstr>
      <vt:lpstr>4_Maersk Line - Grey</vt:lpstr>
      <vt:lpstr>6_Blank</vt:lpstr>
      <vt:lpstr>3_Blank</vt:lpstr>
      <vt:lpstr>5_Maersk Line - White</vt:lpstr>
      <vt:lpstr>2_Maersk Line template (primary)</vt:lpstr>
      <vt:lpstr>3_Maersk Line template (primary)</vt:lpstr>
      <vt:lpstr>14_Maersk Line template (primary)</vt:lpstr>
      <vt:lpstr>4_Maersk Line template (primary)</vt:lpstr>
      <vt:lpstr>5_Maersk Line template (primary)</vt:lpstr>
      <vt:lpstr>Maersk Line template (primary)</vt:lpstr>
      <vt:lpstr>think-cell Slide</vt:lpstr>
      <vt:lpstr>Chart</vt:lpstr>
      <vt:lpstr>PowerPoint Presentation</vt:lpstr>
      <vt:lpstr>PowerPoint Presentation</vt:lpstr>
      <vt:lpstr>PowerPoint Presentation</vt:lpstr>
      <vt:lpstr>PowerPoint Presentation</vt:lpstr>
      <vt:lpstr>Port-related operations are significant sources of air emissions and greenhouse gases.</vt:lpstr>
      <vt:lpstr>PowerPoint Presentation</vt:lpstr>
      <vt:lpstr>PowerPoint Presentation</vt:lpstr>
      <vt:lpstr>Vessels are increasingly fuel efficient.  This reduces fuel use, CO2 and other air emissions. </vt:lpstr>
      <vt:lpstr>PowerPoint Presentation</vt:lpstr>
      <vt:lpstr>PowerPoint Presentation</vt:lpstr>
      <vt:lpstr>Terminal Efficiency Working with terminals to reduce port stays through process improvements</vt:lpstr>
      <vt:lpstr>The Difference in Fuels</vt:lpstr>
      <vt:lpstr>Voluntary use of 0.1% Sulfur fuel reduced air emissions significantly.</vt:lpstr>
      <vt:lpstr>The fuel used in the Emissions Control Areas must be &lt;0.1% Sulfur in 2015. </vt:lpstr>
      <vt:lpstr>How is the ECA different from other fuel programs? </vt:lpstr>
      <vt:lpstr> Reducing emissions at berth </vt:lpstr>
      <vt:lpstr>Shore power alternatives </vt:lpstr>
      <vt:lpstr>Enforcement is essential to maintain a level playing field.</vt:lpstr>
      <vt:lpstr>PowerPoint Presentation</vt:lpstr>
    </vt:vector>
  </TitlesOfParts>
  <Company>Maers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ing Sustainability: Supply Chain Transportation  2016 AIAG Corporate Responsibility Summit Lee Kindberg Director, Environment &amp; Sustainability</dc:title>
  <dc:creator>Kindberg, Lee B</dc:creator>
  <cp:lastModifiedBy>Kindberg, Lee B</cp:lastModifiedBy>
  <cp:revision>75</cp:revision>
  <cp:lastPrinted>2016-10-25T22:39:10Z</cp:lastPrinted>
  <dcterms:created xsi:type="dcterms:W3CDTF">2016-10-24T16:59:15Z</dcterms:created>
  <dcterms:modified xsi:type="dcterms:W3CDTF">2016-12-09T23:4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88082532</vt:i4>
  </property>
  <property fmtid="{D5CDD505-2E9C-101B-9397-08002B2CF9AE}" pid="3" name="_NewReviewCycle">
    <vt:lpwstr/>
  </property>
  <property fmtid="{D5CDD505-2E9C-101B-9397-08002B2CF9AE}" pid="4" name="_EmailSubject">
    <vt:lpwstr>CEC Public Forum on Greening Freight Operations - Your Presentation</vt:lpwstr>
  </property>
  <property fmtid="{D5CDD505-2E9C-101B-9397-08002B2CF9AE}" pid="5" name="_AuthorEmail">
    <vt:lpwstr>Lee.Kindberg@maersk.com</vt:lpwstr>
  </property>
  <property fmtid="{D5CDD505-2E9C-101B-9397-08002B2CF9AE}" pid="6" name="_AuthorEmailDisplayName">
    <vt:lpwstr>Kindberg, Lee B</vt:lpwstr>
  </property>
</Properties>
</file>